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8"/>
  </p:notesMasterIdLst>
  <p:sldIdLst>
    <p:sldId id="259" r:id="rId5"/>
    <p:sldId id="258" r:id="rId6"/>
    <p:sldId id="10054" r:id="rId7"/>
    <p:sldId id="10048" r:id="rId8"/>
    <p:sldId id="10070" r:id="rId9"/>
    <p:sldId id="10067" r:id="rId10"/>
    <p:sldId id="10053" r:id="rId11"/>
    <p:sldId id="10068" r:id="rId12"/>
    <p:sldId id="10069" r:id="rId13"/>
    <p:sldId id="10051" r:id="rId14"/>
    <p:sldId id="10052" r:id="rId15"/>
    <p:sldId id="10063" r:id="rId16"/>
    <p:sldId id="10050" r:id="rId17"/>
    <p:sldId id="10055" r:id="rId18"/>
    <p:sldId id="8696" r:id="rId19"/>
    <p:sldId id="8698" r:id="rId20"/>
    <p:sldId id="8770" r:id="rId21"/>
    <p:sldId id="10056" r:id="rId22"/>
    <p:sldId id="10074" r:id="rId23"/>
    <p:sldId id="10062" r:id="rId24"/>
    <p:sldId id="10057" r:id="rId25"/>
    <p:sldId id="10058" r:id="rId26"/>
    <p:sldId id="10060" r:id="rId27"/>
    <p:sldId id="10066" r:id="rId28"/>
    <p:sldId id="10065" r:id="rId29"/>
    <p:sldId id="8807" r:id="rId30"/>
    <p:sldId id="10072" r:id="rId31"/>
    <p:sldId id="9982" r:id="rId32"/>
    <p:sldId id="10014" r:id="rId33"/>
    <p:sldId id="10073" r:id="rId34"/>
    <p:sldId id="267" r:id="rId35"/>
    <p:sldId id="10071" r:id="rId36"/>
    <p:sldId id="1004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ssion and Speaker Intro" id="{2D8CAF07-D8CA-45FD-BEF3-CBDB100DDD5C}">
          <p14:sldIdLst>
            <p14:sldId id="259"/>
            <p14:sldId id="258"/>
          </p14:sldIdLst>
        </p14:section>
        <p14:section name="Intro 1: A brief history of BI" id="{2BD090F8-D335-4884-A025-A94E4192D23E}">
          <p14:sldIdLst>
            <p14:sldId id="10054"/>
            <p14:sldId id="10048"/>
            <p14:sldId id="10070"/>
            <p14:sldId id="10067"/>
            <p14:sldId id="10053"/>
            <p14:sldId id="10068"/>
            <p14:sldId id="10069"/>
          </p14:sldIdLst>
        </p14:section>
        <p14:section name="Intro 2: Exec sponsorship" id="{6E170832-52E7-41E5-A53C-B4402BB7E7A2}">
          <p14:sldIdLst>
            <p14:sldId id="10051"/>
            <p14:sldId id="10052"/>
            <p14:sldId id="10063"/>
            <p14:sldId id="10050"/>
          </p14:sldIdLst>
        </p14:section>
        <p14:section name="Main Session Content: The easy part" id="{49E65587-CD94-4F54-81F5-848C3BACF221}">
          <p14:sldIdLst>
            <p14:sldId id="10055"/>
            <p14:sldId id="8696"/>
            <p14:sldId id="8698"/>
            <p14:sldId id="8770"/>
            <p14:sldId id="10056"/>
            <p14:sldId id="10074"/>
          </p14:sldIdLst>
        </p14:section>
        <p14:section name="Main Session Content: The hard part" id="{247BB929-5132-419B-8716-302C97D11979}">
          <p14:sldIdLst>
            <p14:sldId id="10062"/>
            <p14:sldId id="10057"/>
            <p14:sldId id="10058"/>
            <p14:sldId id="10060"/>
          </p14:sldIdLst>
        </p14:section>
        <p14:section name="Closing" id="{5EA009A1-D3E4-43BD-8384-EF52386C0CC2}">
          <p14:sldIdLst>
            <p14:sldId id="10066"/>
            <p14:sldId id="10065"/>
            <p14:sldId id="8807"/>
            <p14:sldId id="10072"/>
          </p14:sldIdLst>
        </p14:section>
        <p14:section name="Summary and resources" id="{4AEDD543-C20A-491B-A561-AEB6844216DC}">
          <p14:sldIdLst>
            <p14:sldId id="9982"/>
            <p14:sldId id="10014"/>
            <p14:sldId id="10073"/>
            <p14:sldId id="267"/>
            <p14:sldId id="10071"/>
            <p14:sldId id="100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390395-4081-7AFF-C42F-332FC8083931}" name="Sanjay Raut" initials="SR" userId="S::sraut@microsoft.com::a599bff5-f384-4000-8b35-2a30b4aea735" providerId="AD"/>
  <p188:author id="{54C4AFD7-5771-5D35-4214-30A155683174}" name="Matthew Roche" initials="MR" userId="S::maroche@microsoft.com::9b0fcd9d-bf24-42da-acff-cd52310597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FFC000"/>
    <a:srgbClr val="A5A5A5"/>
    <a:srgbClr val="ED7D31"/>
    <a:srgbClr val="3F3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700BE1-5DA2-469C-91EF-F42601E21892}" v="28" dt="2021-12-08T22:09:17.8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699" autoAdjust="0"/>
  </p:normalViewPr>
  <p:slideViewPr>
    <p:cSldViewPr snapToGrid="0">
      <p:cViewPr>
        <p:scale>
          <a:sx n="100" d="100"/>
          <a:sy n="100" d="100"/>
        </p:scale>
        <p:origin x="2580" y="956"/>
      </p:cViewPr>
      <p:guideLst/>
    </p:cSldViewPr>
  </p:slideViewPr>
  <p:notesTextViewPr>
    <p:cViewPr>
      <p:scale>
        <a:sx n="1" d="1"/>
        <a:sy n="1" d="1"/>
      </p:scale>
      <p:origin x="0" y="0"/>
    </p:cViewPr>
  </p:notesTextViewPr>
  <p:sorterViewPr>
    <p:cViewPr>
      <p:scale>
        <a:sx n="60" d="100"/>
        <a:sy n="60" d="100"/>
      </p:scale>
      <p:origin x="0" y="-3233"/>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ew Roche" userId="9b0fcd9d-bf24-42da-acff-cd52310597a5" providerId="ADAL" clId="{3B700BE1-5DA2-469C-91EF-F42601E21892}"/>
    <pc:docChg chg="undo custSel addSld delSld modSld sldOrd delSection modSection">
      <pc:chgData name="Matthew Roche" userId="9b0fcd9d-bf24-42da-acff-cd52310597a5" providerId="ADAL" clId="{3B700BE1-5DA2-469C-91EF-F42601E21892}" dt="2021-12-08T23:30:16.026" v="409" actId="1035"/>
      <pc:docMkLst>
        <pc:docMk/>
      </pc:docMkLst>
      <pc:sldChg chg="modSp mod">
        <pc:chgData name="Matthew Roche" userId="9b0fcd9d-bf24-42da-acff-cd52310597a5" providerId="ADAL" clId="{3B700BE1-5DA2-469C-91EF-F42601E21892}" dt="2021-12-08T23:30:16.026" v="409" actId="1035"/>
        <pc:sldMkLst>
          <pc:docMk/>
          <pc:sldMk cId="2923537215" sldId="259"/>
        </pc:sldMkLst>
        <pc:spChg chg="mod">
          <ac:chgData name="Matthew Roche" userId="9b0fcd9d-bf24-42da-acff-cd52310597a5" providerId="ADAL" clId="{3B700BE1-5DA2-469C-91EF-F42601E21892}" dt="2021-12-08T23:30:16.026" v="409" actId="1035"/>
          <ac:spMkLst>
            <pc:docMk/>
            <pc:sldMk cId="2923537215" sldId="259"/>
            <ac:spMk id="4" creationId="{C8CD08BC-E44E-4C81-8A67-EA9E59B7F193}"/>
          </ac:spMkLst>
        </pc:spChg>
        <pc:spChg chg="mod">
          <ac:chgData name="Matthew Roche" userId="9b0fcd9d-bf24-42da-acff-cd52310597a5" providerId="ADAL" clId="{3B700BE1-5DA2-469C-91EF-F42601E21892}" dt="2021-12-08T23:30:16.026" v="409" actId="1035"/>
          <ac:spMkLst>
            <pc:docMk/>
            <pc:sldMk cId="2923537215" sldId="259"/>
            <ac:spMk id="5" creationId="{A8E0CCDC-B809-4657-B42A-97132F520792}"/>
          </ac:spMkLst>
        </pc:spChg>
      </pc:sldChg>
      <pc:sldChg chg="ord modTransition">
        <pc:chgData name="Matthew Roche" userId="9b0fcd9d-bf24-42da-acff-cd52310597a5" providerId="ADAL" clId="{3B700BE1-5DA2-469C-91EF-F42601E21892}" dt="2021-12-08T22:04:23.468" v="259"/>
        <pc:sldMkLst>
          <pc:docMk/>
          <pc:sldMk cId="1990115131" sldId="8698"/>
        </pc:sldMkLst>
      </pc:sldChg>
      <pc:sldChg chg="addSp delSp del mod">
        <pc:chgData name="Matthew Roche" userId="9b0fcd9d-bf24-42da-acff-cd52310597a5" providerId="ADAL" clId="{3B700BE1-5DA2-469C-91EF-F42601E21892}" dt="2021-12-08T22:02:50.210" v="256" actId="47"/>
        <pc:sldMkLst>
          <pc:docMk/>
          <pc:sldMk cId="3104244819" sldId="8780"/>
        </pc:sldMkLst>
        <pc:picChg chg="add del">
          <ac:chgData name="Matthew Roche" userId="9b0fcd9d-bf24-42da-acff-cd52310597a5" providerId="ADAL" clId="{3B700BE1-5DA2-469C-91EF-F42601E21892}" dt="2021-12-08T21:50:16.485" v="4" actId="478"/>
          <ac:picMkLst>
            <pc:docMk/>
            <pc:sldMk cId="3104244819" sldId="8780"/>
            <ac:picMk id="4" creationId="{50B2BCB0-7026-44C4-8D2C-6BB8B58DE22E}"/>
          </ac:picMkLst>
        </pc:picChg>
      </pc:sldChg>
      <pc:sldChg chg="mod modShow">
        <pc:chgData name="Matthew Roche" userId="9b0fcd9d-bf24-42da-acff-cd52310597a5" providerId="ADAL" clId="{3B700BE1-5DA2-469C-91EF-F42601E21892}" dt="2021-12-08T21:49:23.514" v="0" actId="729"/>
        <pc:sldMkLst>
          <pc:docMk/>
          <pc:sldMk cId="591100164" sldId="10048"/>
        </pc:sldMkLst>
      </pc:sldChg>
      <pc:sldChg chg="addSp modSp mod">
        <pc:chgData name="Matthew Roche" userId="9b0fcd9d-bf24-42da-acff-cd52310597a5" providerId="ADAL" clId="{3B700BE1-5DA2-469C-91EF-F42601E21892}" dt="2021-12-08T21:55:59.213" v="255" actId="1038"/>
        <pc:sldMkLst>
          <pc:docMk/>
          <pc:sldMk cId="4125500449" sldId="10056"/>
        </pc:sldMkLst>
        <pc:spChg chg="add mod">
          <ac:chgData name="Matthew Roche" userId="9b0fcd9d-bf24-42da-acff-cd52310597a5" providerId="ADAL" clId="{3B700BE1-5DA2-469C-91EF-F42601E21892}" dt="2021-12-08T21:55:59.213" v="255" actId="1038"/>
          <ac:spMkLst>
            <pc:docMk/>
            <pc:sldMk cId="4125500449" sldId="10056"/>
            <ac:spMk id="6" creationId="{55C9C9B2-477B-4C1E-B94A-F2C81FA19ED3}"/>
          </ac:spMkLst>
        </pc:spChg>
        <pc:graphicFrameChg chg="add mod">
          <ac:chgData name="Matthew Roche" userId="9b0fcd9d-bf24-42da-acff-cd52310597a5" providerId="ADAL" clId="{3B700BE1-5DA2-469C-91EF-F42601E21892}" dt="2021-12-08T21:55:59.213" v="255" actId="1038"/>
          <ac:graphicFrameMkLst>
            <pc:docMk/>
            <pc:sldMk cId="4125500449" sldId="10056"/>
            <ac:graphicFrameMk id="4" creationId="{B909EB46-6B5C-4C38-82DC-F764277A1326}"/>
          </ac:graphicFrameMkLst>
        </pc:graphicFrameChg>
        <pc:cxnChg chg="add mod">
          <ac:chgData name="Matthew Roche" userId="9b0fcd9d-bf24-42da-acff-cd52310597a5" providerId="ADAL" clId="{3B700BE1-5DA2-469C-91EF-F42601E21892}" dt="2021-12-08T21:55:59.213" v="255" actId="1038"/>
          <ac:cxnSpMkLst>
            <pc:docMk/>
            <pc:sldMk cId="4125500449" sldId="10056"/>
            <ac:cxnSpMk id="8" creationId="{000B0E48-40BA-4D87-BDA2-904DE01BF44B}"/>
          </ac:cxnSpMkLst>
        </pc:cxnChg>
        <pc:cxnChg chg="add mod">
          <ac:chgData name="Matthew Roche" userId="9b0fcd9d-bf24-42da-acff-cd52310597a5" providerId="ADAL" clId="{3B700BE1-5DA2-469C-91EF-F42601E21892}" dt="2021-12-08T21:55:59.213" v="255" actId="1038"/>
          <ac:cxnSpMkLst>
            <pc:docMk/>
            <pc:sldMk cId="4125500449" sldId="10056"/>
            <ac:cxnSpMk id="10" creationId="{6BFCC5FC-980A-4002-BA6E-274CEABB2C19}"/>
          </ac:cxnSpMkLst>
        </pc:cxnChg>
      </pc:sldChg>
      <pc:sldChg chg="addSp modSp mod modAnim">
        <pc:chgData name="Matthew Roche" userId="9b0fcd9d-bf24-42da-acff-cd52310597a5" providerId="ADAL" clId="{3B700BE1-5DA2-469C-91EF-F42601E21892}" dt="2021-12-08T22:12:36.551" v="273" actId="1038"/>
        <pc:sldMkLst>
          <pc:docMk/>
          <pc:sldMk cId="2479125209" sldId="10060"/>
        </pc:sldMkLst>
        <pc:picChg chg="add mod modCrop">
          <ac:chgData name="Matthew Roche" userId="9b0fcd9d-bf24-42da-acff-cd52310597a5" providerId="ADAL" clId="{3B700BE1-5DA2-469C-91EF-F42601E21892}" dt="2021-12-08T22:12:36.551" v="273" actId="1038"/>
          <ac:picMkLst>
            <pc:docMk/>
            <pc:sldMk cId="2479125209" sldId="10060"/>
            <ac:picMk id="8" creationId="{842DD3F7-A5B9-4048-BD02-841B08991273}"/>
          </ac:picMkLst>
        </pc:picChg>
      </pc:sldChg>
      <pc:sldChg chg="modAnim">
        <pc:chgData name="Matthew Roche" userId="9b0fcd9d-bf24-42da-acff-cd52310597a5" providerId="ADAL" clId="{3B700BE1-5DA2-469C-91EF-F42601E21892}" dt="2021-12-08T21:49:46.504" v="2"/>
        <pc:sldMkLst>
          <pc:docMk/>
          <pc:sldMk cId="331462655" sldId="10070"/>
        </pc:sldMkLst>
      </pc:sldChg>
      <pc:sldChg chg="addSp delSp modSp add del mod modTransition">
        <pc:chgData name="Matthew Roche" userId="9b0fcd9d-bf24-42da-acff-cd52310597a5" providerId="ADAL" clId="{3B700BE1-5DA2-469C-91EF-F42601E21892}" dt="2021-12-08T21:55:06.090" v="62"/>
        <pc:sldMkLst>
          <pc:docMk/>
          <pc:sldMk cId="625063429" sldId="10074"/>
        </pc:sldMkLst>
        <pc:spChg chg="add del">
          <ac:chgData name="Matthew Roche" userId="9b0fcd9d-bf24-42da-acff-cd52310597a5" providerId="ADAL" clId="{3B700BE1-5DA2-469C-91EF-F42601E21892}" dt="2021-12-08T21:53:33.764" v="32" actId="22"/>
          <ac:spMkLst>
            <pc:docMk/>
            <pc:sldMk cId="625063429" sldId="10074"/>
            <ac:spMk id="4" creationId="{DE8CAE84-26E0-4555-9660-E924B91107BE}"/>
          </ac:spMkLst>
        </pc:spChg>
        <pc:spChg chg="add mod">
          <ac:chgData name="Matthew Roche" userId="9b0fcd9d-bf24-42da-acff-cd52310597a5" providerId="ADAL" clId="{3B700BE1-5DA2-469C-91EF-F42601E21892}" dt="2021-12-08T21:54:12.799" v="55" actId="1037"/>
          <ac:spMkLst>
            <pc:docMk/>
            <pc:sldMk cId="625063429" sldId="10074"/>
            <ac:spMk id="12" creationId="{B6C0A25F-78E3-47B8-99FF-8CBE9229F352}"/>
          </ac:spMkLst>
        </pc:spChg>
        <pc:graphicFrameChg chg="mod">
          <ac:chgData name="Matthew Roche" userId="9b0fcd9d-bf24-42da-acff-cd52310597a5" providerId="ADAL" clId="{3B700BE1-5DA2-469C-91EF-F42601E21892}" dt="2021-12-08T21:54:41.138" v="59" actId="1076"/>
          <ac:graphicFrameMkLst>
            <pc:docMk/>
            <pc:sldMk cId="625063429" sldId="10074"/>
            <ac:graphicFrameMk id="2" creationId="{227821CB-AFA2-425F-8324-C88DC4533E22}"/>
          </ac:graphicFrameMkLst>
        </pc:graphicFrameChg>
        <pc:graphicFrameChg chg="add mod">
          <ac:chgData name="Matthew Roche" userId="9b0fcd9d-bf24-42da-acff-cd52310597a5" providerId="ADAL" clId="{3B700BE1-5DA2-469C-91EF-F42601E21892}" dt="2021-12-08T21:54:12.799" v="55" actId="1037"/>
          <ac:graphicFrameMkLst>
            <pc:docMk/>
            <pc:sldMk cId="625063429" sldId="10074"/>
            <ac:graphicFrameMk id="10" creationId="{0D6F6CF4-8447-4C63-92BB-6011168390EF}"/>
          </ac:graphicFrameMkLst>
        </pc:graphicFrameChg>
        <pc:cxnChg chg="add del mod">
          <ac:chgData name="Matthew Roche" userId="9b0fcd9d-bf24-42da-acff-cd52310597a5" providerId="ADAL" clId="{3B700BE1-5DA2-469C-91EF-F42601E21892}" dt="2021-12-08T21:53:33.764" v="32" actId="22"/>
          <ac:cxnSpMkLst>
            <pc:docMk/>
            <pc:sldMk cId="625063429" sldId="10074"/>
            <ac:cxnSpMk id="6" creationId="{5F0A29FD-7313-48C0-A551-D98129B3FD7C}"/>
          </ac:cxnSpMkLst>
        </pc:cxnChg>
        <pc:cxnChg chg="add del mod">
          <ac:chgData name="Matthew Roche" userId="9b0fcd9d-bf24-42da-acff-cd52310597a5" providerId="ADAL" clId="{3B700BE1-5DA2-469C-91EF-F42601E21892}" dt="2021-12-08T21:53:33.764" v="32" actId="22"/>
          <ac:cxnSpMkLst>
            <pc:docMk/>
            <pc:sldMk cId="625063429" sldId="10074"/>
            <ac:cxnSpMk id="8" creationId="{3B06759E-D770-4883-901A-BC8B8508986E}"/>
          </ac:cxnSpMkLst>
        </pc:cxnChg>
        <pc:cxnChg chg="add mod">
          <ac:chgData name="Matthew Roche" userId="9b0fcd9d-bf24-42da-acff-cd52310597a5" providerId="ADAL" clId="{3B700BE1-5DA2-469C-91EF-F42601E21892}" dt="2021-12-08T21:54:12.799" v="55" actId="1037"/>
          <ac:cxnSpMkLst>
            <pc:docMk/>
            <pc:sldMk cId="625063429" sldId="10074"/>
            <ac:cxnSpMk id="14" creationId="{EFDC3643-3C23-4C0E-8952-714942F5AA8E}"/>
          </ac:cxnSpMkLst>
        </pc:cxnChg>
        <pc:cxnChg chg="add mod">
          <ac:chgData name="Matthew Roche" userId="9b0fcd9d-bf24-42da-acff-cd52310597a5" providerId="ADAL" clId="{3B700BE1-5DA2-469C-91EF-F42601E21892}" dt="2021-12-08T21:54:12.799" v="55" actId="1037"/>
          <ac:cxnSpMkLst>
            <pc:docMk/>
            <pc:sldMk cId="625063429" sldId="10074"/>
            <ac:cxnSpMk id="16" creationId="{E62FB221-0359-4871-B5F3-A2D28E2C6441}"/>
          </ac:cxnSpMkLst>
        </pc:cxnChg>
      </pc:sldChg>
      <pc:sldChg chg="modSp add del mod modTransition">
        <pc:chgData name="Matthew Roche" userId="9b0fcd9d-bf24-42da-acff-cd52310597a5" providerId="ADAL" clId="{3B700BE1-5DA2-469C-91EF-F42601E21892}" dt="2021-12-08T21:52:56.510" v="27" actId="2696"/>
        <pc:sldMkLst>
          <pc:docMk/>
          <pc:sldMk cId="939196497" sldId="10074"/>
        </pc:sldMkLst>
        <pc:graphicFrameChg chg="mod">
          <ac:chgData name="Matthew Roche" userId="9b0fcd9d-bf24-42da-acff-cd52310597a5" providerId="ADAL" clId="{3B700BE1-5DA2-469C-91EF-F42601E21892}" dt="2021-12-08T21:52:42.601" v="26" actId="20577"/>
          <ac:graphicFrameMkLst>
            <pc:docMk/>
            <pc:sldMk cId="939196497" sldId="10074"/>
            <ac:graphicFrameMk id="2" creationId="{227821CB-AFA2-425F-8324-C88DC4533E22}"/>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Personal</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Team</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dirty="0"/>
            <a:t>Departmental</a:t>
          </a:r>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Enterprise</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BF97630A-959B-4336-BC08-0D06E06062F2}">
      <dgm:prSet phldrT="[Text]"/>
      <dgm:spPr/>
      <dgm:t>
        <a:bodyPr/>
        <a:lstStyle/>
        <a:p>
          <a:r>
            <a:rPr lang="en-US" dirty="0"/>
            <a:t>Power BI Desktop</a:t>
          </a:r>
        </a:p>
      </dgm:t>
    </dgm:pt>
    <dgm:pt modelId="{51EAAD93-C15C-4BB5-BDEB-E98FB3CB21B6}" type="parTrans" cxnId="{512B6542-1ACA-464F-81D4-0BC90C246C38}">
      <dgm:prSet/>
      <dgm:spPr/>
      <dgm:t>
        <a:bodyPr/>
        <a:lstStyle/>
        <a:p>
          <a:endParaRPr lang="en-US"/>
        </a:p>
      </dgm:t>
    </dgm:pt>
    <dgm:pt modelId="{5908BA9F-E107-4582-98FF-2FD94CFFD919}" type="sibTrans" cxnId="{512B6542-1ACA-464F-81D4-0BC90C246C38}">
      <dgm:prSet/>
      <dgm:spPr/>
      <dgm:t>
        <a:bodyPr/>
        <a:lstStyle/>
        <a:p>
          <a:endParaRPr lang="en-US"/>
        </a:p>
      </dgm:t>
    </dgm:pt>
    <dgm:pt modelId="{D02FF7DE-69BD-40B1-B145-EEEB6F8D284F}">
      <dgm:prSet phldrT="[Text]"/>
      <dgm:spPr/>
      <dgm:t>
        <a:bodyPr/>
        <a:lstStyle/>
        <a:p>
          <a:r>
            <a:rPr lang="en-US" dirty="0"/>
            <a:t>No Pro license</a:t>
          </a:r>
        </a:p>
      </dgm:t>
    </dgm:pt>
    <dgm:pt modelId="{5D56C4BB-C971-4B6F-B67C-A496A8ACA9F7}" type="parTrans" cxnId="{E9C1C149-F392-4D5A-A9E4-B50BA1A239D0}">
      <dgm:prSet/>
      <dgm:spPr/>
      <dgm:t>
        <a:bodyPr/>
        <a:lstStyle/>
        <a:p>
          <a:endParaRPr lang="en-US"/>
        </a:p>
      </dgm:t>
    </dgm:pt>
    <dgm:pt modelId="{AEB32CD4-55EB-49E4-98E8-3C001797147B}" type="sibTrans" cxnId="{E9C1C149-F392-4D5A-A9E4-B50BA1A239D0}">
      <dgm:prSet/>
      <dgm:spPr/>
      <dgm:t>
        <a:bodyPr/>
        <a:lstStyle/>
        <a:p>
          <a:endParaRPr lang="en-US"/>
        </a:p>
      </dgm:t>
    </dgm:pt>
    <dgm:pt modelId="{4A234FAF-730A-4DCE-9F8A-FBAEAEE366E0}">
      <dgm:prSet phldrT="[Text]"/>
      <dgm:spPr/>
      <dgm:t>
        <a:bodyPr/>
        <a:lstStyle/>
        <a:p>
          <a:r>
            <a:rPr lang="en-US" dirty="0"/>
            <a:t>Pro license for author</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17DDBE6D-8F47-4601-9DC9-3DF580A41F62}">
      <dgm:prSet phldrT="[Text]"/>
      <dgm:spPr/>
      <dgm:t>
        <a:bodyPr/>
        <a:lstStyle/>
        <a:p>
          <a:r>
            <a:rPr lang="en-US" dirty="0"/>
            <a:t>Pro license for reader</a:t>
          </a:r>
        </a:p>
      </dgm:t>
    </dgm:pt>
    <dgm:pt modelId="{92400FBC-C62C-4C5B-99CB-827CDF5187CD}" type="parTrans" cxnId="{ACB13ABC-0C47-43EF-BB89-C83BCEF84699}">
      <dgm:prSet/>
      <dgm:spPr/>
      <dgm:t>
        <a:bodyPr/>
        <a:lstStyle/>
        <a:p>
          <a:endParaRPr lang="en-US"/>
        </a:p>
      </dgm:t>
    </dgm:pt>
    <dgm:pt modelId="{7F7A9E99-F138-432E-8FD9-C9A01BD1FE1A}" type="sibTrans" cxnId="{ACB13ABC-0C47-43EF-BB89-C83BCEF84699}">
      <dgm:prSet/>
      <dgm:spPr/>
      <dgm:t>
        <a:bodyPr/>
        <a:lstStyle/>
        <a:p>
          <a:endParaRPr lang="en-US"/>
        </a:p>
      </dgm:t>
    </dgm:pt>
    <dgm:pt modelId="{46A13AB2-7A6A-4D92-949C-96598476F708}">
      <dgm:prSet phldrT="[Text]"/>
      <dgm:spPr/>
      <dgm:t>
        <a:bodyPr/>
        <a:lstStyle/>
        <a:p>
          <a:r>
            <a:rPr lang="en-US" dirty="0"/>
            <a:t>Managed SSBI</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FE574766-C957-4D2F-BF75-6BC7D4DC6E61}">
      <dgm:prSet phldrT="[Text]"/>
      <dgm:spPr/>
      <dgm:t>
        <a:bodyPr/>
        <a:lstStyle/>
        <a:p>
          <a:r>
            <a:rPr lang="en-US" dirty="0"/>
            <a:t>Premium capacity w/gates</a:t>
          </a:r>
        </a:p>
      </dgm:t>
    </dgm:pt>
    <dgm:pt modelId="{CA213872-5621-4308-B930-0FB967EAA8AA}" type="parTrans" cxnId="{43239728-CF45-4560-916A-0205FD6AD9A3}">
      <dgm:prSet/>
      <dgm:spPr/>
      <dgm:t>
        <a:bodyPr/>
        <a:lstStyle/>
        <a:p>
          <a:endParaRPr lang="en-US"/>
        </a:p>
      </dgm:t>
    </dgm:pt>
    <dgm:pt modelId="{093E670F-37CB-454E-8210-076EF30B0D84}" type="sibTrans" cxnId="{43239728-CF45-4560-916A-0205FD6AD9A3}">
      <dgm:prSet/>
      <dgm:spPr/>
      <dgm:t>
        <a:bodyPr/>
        <a:lstStyle/>
        <a:p>
          <a:endParaRPr lang="en-US"/>
        </a:p>
      </dgm:t>
    </dgm:pt>
    <dgm:pt modelId="{D3C7E271-0B35-4572-A4B6-D834F3C461B8}">
      <dgm:prSet phldrT="[Text]"/>
      <dgm:spPr/>
      <dgm:t>
        <a:bodyPr/>
        <a:lstStyle/>
        <a:p>
          <a:r>
            <a:rPr lang="en-US" dirty="0"/>
            <a:t>Central BI</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5554FE02-DF4C-4E57-9DDB-B3B9E1155A75}">
      <dgm:prSet phldrT="[Text]"/>
      <dgm:spPr/>
      <dgm:t>
        <a:bodyPr/>
        <a:lstStyle/>
        <a:p>
          <a:r>
            <a:rPr lang="en-US" dirty="0"/>
            <a:t>Full support and ALM</a:t>
          </a:r>
        </a:p>
      </dgm:t>
    </dgm:pt>
    <dgm:pt modelId="{DD4EED73-7653-47BF-8E09-25110668C6A7}" type="parTrans" cxnId="{F2C1DB39-B03E-4C34-8CDC-336B00BBE407}">
      <dgm:prSet/>
      <dgm:spPr/>
      <dgm:t>
        <a:bodyPr/>
        <a:lstStyle/>
        <a:p>
          <a:endParaRPr lang="en-US"/>
        </a:p>
      </dgm:t>
    </dgm:pt>
    <dgm:pt modelId="{332F1D6B-0451-4345-B181-A8143D4DE2ED}" type="sibTrans" cxnId="{F2C1DB39-B03E-4C34-8CDC-336B00BBE407}">
      <dgm:prSet/>
      <dgm:spPr/>
      <dgm:t>
        <a:bodyPr/>
        <a:lstStyle/>
        <a:p>
          <a:endParaRPr lang="en-US"/>
        </a:p>
      </dgm:t>
    </dgm:pt>
    <dgm:pt modelId="{A4333F56-9555-4E57-A5F1-FA9D346C2223}">
      <dgm:prSet phldrT="[Text]"/>
      <dgm:spPr/>
      <dgm:t>
        <a:bodyPr/>
        <a:lstStyle/>
        <a:p>
          <a:r>
            <a:rPr lang="en-US" dirty="0"/>
            <a:t>No sharing</a:t>
          </a:r>
        </a:p>
      </dgm:t>
    </dgm:pt>
    <dgm:pt modelId="{4AF9A5EA-7407-43BA-815F-7F2ED1D31A00}" type="parTrans" cxnId="{C53FBC87-6BF7-444C-AD1D-C664C6A5B911}">
      <dgm:prSet/>
      <dgm:spPr/>
      <dgm:t>
        <a:bodyPr/>
        <a:lstStyle/>
        <a:p>
          <a:endParaRPr lang="en-US"/>
        </a:p>
      </dgm:t>
    </dgm:pt>
    <dgm:pt modelId="{2D2DD1A2-8FC7-40BC-99B1-E235269377EA}" type="sibTrans" cxnId="{C53FBC87-6BF7-444C-AD1D-C664C6A5B911}">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502197CC-F643-454C-B0C0-13898FE31404}" type="pres">
      <dgm:prSet presAssocID="{141DAF27-9884-45C0-9A7F-F595B3DD1F34}" presName="vertSpace2" presStyleLbl="node1" presStyleIdx="0" presStyleCnt="4"/>
      <dgm:spPr/>
    </dgm:pt>
    <dgm:pt modelId="{428EF539-45CC-4194-B5EC-45F99322CA47}" type="pres">
      <dgm:prSet presAssocID="{141DAF27-9884-45C0-9A7F-F595B3DD1F34}" presName="circle2" presStyleLbl="node1" presStyleIdx="1" presStyleCnt="4"/>
      <dgm:spPr>
        <a:solidFill>
          <a:srgbClr val="A5A5A5"/>
        </a:solidFill>
      </dgm:spPr>
    </dgm:pt>
    <dgm:pt modelId="{46F499B8-4ACA-4A7A-8C1E-14F4ECB3276F}" type="pres">
      <dgm:prSet presAssocID="{141DAF27-9884-45C0-9A7F-F595B3DD1F34}" presName="rect2" presStyleLbl="alignAcc1" presStyleIdx="1" presStyleCnt="4"/>
      <dgm:spPr/>
    </dgm:pt>
    <dgm:pt modelId="{BF1BF36C-73FF-4483-9533-AA0F0C5B3067}" type="pres">
      <dgm:prSet presAssocID="{7C9BBA7F-69BB-4688-B9F5-C424675DADDA}" presName="vertSpace3" presStyleLbl="node1" presStyleIdx="1" presStyleCnt="4"/>
      <dgm:spPr/>
    </dgm:pt>
    <dgm:pt modelId="{2AA95DD1-241A-47B0-A74F-4B79E2FADBC4}" type="pres">
      <dgm:prSet presAssocID="{7C9BBA7F-69BB-4688-B9F5-C424675DADDA}" presName="circle3" presStyleLbl="node1" presStyleIdx="2" presStyleCnt="4"/>
      <dgm:spPr>
        <a:solidFill>
          <a:srgbClr val="FFC000"/>
        </a:solidFill>
      </dgm:spPr>
    </dgm:pt>
    <dgm:pt modelId="{9A04F62D-DC7B-4603-88C3-6A908805D98D}" type="pres">
      <dgm:prSet presAssocID="{7C9BBA7F-69BB-4688-B9F5-C424675DADDA}" presName="rect3" presStyleLbl="alignAcc1" presStyleIdx="2" presStyleCnt="4"/>
      <dgm:spPr/>
    </dgm:pt>
    <dgm:pt modelId="{5DA0C5BB-3611-4CC4-83F8-A60156A7D917}" type="pres">
      <dgm:prSet presAssocID="{5F815A55-7FC3-4FA3-ABF3-2D4390A8360E}" presName="vertSpace4" presStyleLbl="node1" presStyleIdx="2" presStyleCnt="4"/>
      <dgm:spPr/>
    </dgm:pt>
    <dgm:pt modelId="{C128E0FC-B373-4319-9068-817E84F9ECD6}" type="pres">
      <dgm:prSet presAssocID="{5F815A55-7FC3-4FA3-ABF3-2D4390A8360E}" presName="circle4" presStyleLbl="node1" presStyleIdx="3" presStyleCnt="4"/>
      <dgm:spPr>
        <a:solidFill>
          <a:srgbClr val="5B9BD5"/>
        </a:solidFill>
      </dgm:spPr>
    </dgm:pt>
    <dgm:pt modelId="{33DF1E5E-B116-4DE8-A752-23204EFFA357}" type="pres">
      <dgm:prSet presAssocID="{5F815A55-7FC3-4FA3-ABF3-2D4390A8360E}"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4BC73606-CFE8-45C2-9215-EBE823B3C704}" type="pres">
      <dgm:prSet presAssocID="{141DAF27-9884-45C0-9A7F-F595B3DD1F34}" presName="rect2ParTx" presStyleLbl="alignAcc1" presStyleIdx="3" presStyleCnt="4">
        <dgm:presLayoutVars>
          <dgm:chMax val="1"/>
          <dgm:bulletEnabled val="1"/>
        </dgm:presLayoutVars>
      </dgm:prSet>
      <dgm:spPr/>
    </dgm:pt>
    <dgm:pt modelId="{E0F94BF8-4AA2-4B57-BC67-E4836DE8E368}" type="pres">
      <dgm:prSet presAssocID="{141DAF27-9884-45C0-9A7F-F595B3DD1F34}" presName="rect2ChTx" presStyleLbl="alignAcc1" presStyleIdx="3" presStyleCnt="4">
        <dgm:presLayoutVars>
          <dgm:bulletEnabled val="1"/>
        </dgm:presLayoutVars>
      </dgm:prSet>
      <dgm:spPr/>
    </dgm:pt>
    <dgm:pt modelId="{14377955-2B82-4E05-ABC5-A06C6B7B0DCA}" type="pres">
      <dgm:prSet presAssocID="{7C9BBA7F-69BB-4688-B9F5-C424675DADDA}" presName="rect3ParTx" presStyleLbl="alignAcc1" presStyleIdx="3" presStyleCnt="4">
        <dgm:presLayoutVars>
          <dgm:chMax val="1"/>
          <dgm:bulletEnabled val="1"/>
        </dgm:presLayoutVars>
      </dgm:prSet>
      <dgm:spPr/>
    </dgm:pt>
    <dgm:pt modelId="{0EDE1A9E-0481-40C6-9336-53936D8E0933}" type="pres">
      <dgm:prSet presAssocID="{7C9BBA7F-69BB-4688-B9F5-C424675DADDA}" presName="rect3ChTx" presStyleLbl="alignAcc1" presStyleIdx="3" presStyleCnt="4">
        <dgm:presLayoutVars>
          <dgm:bulletEnabled val="1"/>
        </dgm:presLayoutVars>
      </dgm:prSet>
      <dgm:spPr/>
    </dgm:pt>
    <dgm:pt modelId="{582BB24D-F711-4FC1-8A3D-FBFC5C0C001B}" type="pres">
      <dgm:prSet presAssocID="{5F815A55-7FC3-4FA3-ABF3-2D4390A8360E}" presName="rect4ParTx" presStyleLbl="alignAcc1" presStyleIdx="3" presStyleCnt="4">
        <dgm:presLayoutVars>
          <dgm:chMax val="1"/>
          <dgm:bulletEnabled val="1"/>
        </dgm:presLayoutVars>
      </dgm:prSet>
      <dgm:spPr/>
    </dgm:pt>
    <dgm:pt modelId="{47EF0C8B-5593-4AD0-BE10-D1DCAF08C4F0}" type="pres">
      <dgm:prSet presAssocID="{5F815A55-7FC3-4FA3-ABF3-2D4390A8360E}" presName="rect4ChTx" presStyleLbl="alignAcc1" presStyleIdx="3" presStyleCnt="4">
        <dgm:presLayoutVars>
          <dgm:bulletEnabled val="1"/>
        </dgm:presLayoutVars>
      </dgm:prSet>
      <dgm:spPr/>
    </dgm:pt>
  </dgm:ptLst>
  <dgm:cxnLst>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1F109F1E-294C-440A-BFB2-00A7F0E42509}" type="presOf" srcId="{17DDBE6D-8F47-4601-9DC9-3DF580A41F62}" destId="{E0F94BF8-4AA2-4B57-BC67-E4836DE8E368}" srcOrd="0" destOrd="1" presId="urn:microsoft.com/office/officeart/2005/8/layout/target3"/>
    <dgm:cxn modelId="{43239728-CF45-4560-916A-0205FD6AD9A3}" srcId="{7C9BBA7F-69BB-4688-B9F5-C424675DADDA}" destId="{FE574766-C957-4D2F-BF75-6BC7D4DC6E61}" srcOrd="1" destOrd="0" parTransId="{CA213872-5621-4308-B930-0FB967EAA8AA}" sibTransId="{093E670F-37CB-454E-8210-076EF30B0D84}"/>
    <dgm:cxn modelId="{A84DC32A-CBF0-48B5-B6D8-57A203FDC8D0}" srcId="{6A993D06-AA99-4F3D-B309-9798F18CDE0C}" destId="{602704CB-89C9-4D28-9876-EC4325B8CC4C}" srcOrd="0" destOrd="0" parTransId="{BE9354C2-3BF1-4D07-9E24-3ADF61646F03}" sibTransId="{6F31C978-BF01-4475-A060-88428C032AC5}"/>
    <dgm:cxn modelId="{6E1BFC2D-0A18-450E-8E67-C1273BE860B4}" type="presOf" srcId="{141DAF27-9884-45C0-9A7F-F595B3DD1F34}" destId="{4BC73606-CFE8-45C2-9215-EBE823B3C704}" srcOrd="1" destOrd="0" presId="urn:microsoft.com/office/officeart/2005/8/layout/target3"/>
    <dgm:cxn modelId="{BC876931-F46E-435B-9E6F-D1445CB855AE}" srcId="{6A993D06-AA99-4F3D-B309-9798F18CDE0C}" destId="{141DAF27-9884-45C0-9A7F-F595B3DD1F34}" srcOrd="1" destOrd="0" parTransId="{3C19FDC2-6D75-48C0-BE59-CE9093549B71}" sibTransId="{59D3B008-4701-45F3-9A18-D8A8280474F1}"/>
    <dgm:cxn modelId="{ADBF6E31-8B4D-4540-9D9B-FADBE10F5B91}" type="presOf" srcId="{6A993D06-AA99-4F3D-B309-9798F18CDE0C}" destId="{F47B56F4-E8EA-47BE-9641-1936281C3385}" srcOrd="0" destOrd="0" presId="urn:microsoft.com/office/officeart/2005/8/layout/target3"/>
    <dgm:cxn modelId="{F2C1DB39-B03E-4C34-8CDC-336B00BBE407}" srcId="{5F815A55-7FC3-4FA3-ABF3-2D4390A8360E}" destId="{5554FE02-DF4C-4E57-9DDB-B3B9E1155A75}" srcOrd="1" destOrd="0" parTransId="{DD4EED73-7653-47BF-8E09-25110668C6A7}" sibTransId="{332F1D6B-0451-4345-B181-A8143D4DE2ED}"/>
    <dgm:cxn modelId="{A0F3705B-2BC4-4458-B034-DA5F0767E5E6}" type="presOf" srcId="{D3C7E271-0B35-4572-A4B6-D834F3C461B8}" destId="{47EF0C8B-5593-4AD0-BE10-D1DCAF08C4F0}" srcOrd="0" destOrd="0" presId="urn:microsoft.com/office/officeart/2005/8/layout/target3"/>
    <dgm:cxn modelId="{512B6542-1ACA-464F-81D4-0BC90C246C38}" srcId="{602704CB-89C9-4D28-9876-EC4325B8CC4C}" destId="{BF97630A-959B-4336-BC08-0D06E06062F2}" srcOrd="0" destOrd="0" parTransId="{51EAAD93-C15C-4BB5-BDEB-E98FB3CB21B6}" sibTransId="{5908BA9F-E107-4582-98FF-2FD94CFFD919}"/>
    <dgm:cxn modelId="{E9C1C149-F392-4D5A-A9E4-B50BA1A239D0}" srcId="{602704CB-89C9-4D28-9876-EC4325B8CC4C}" destId="{D02FF7DE-69BD-40B1-B145-EEEB6F8D284F}" srcOrd="1" destOrd="0" parTransId="{5D56C4BB-C971-4B6F-B67C-A496A8ACA9F7}" sibTransId="{AEB32CD4-55EB-49E4-98E8-3C001797147B}"/>
    <dgm:cxn modelId="{F24C8C72-331C-46AD-B34C-50E6BC5551E2}" srcId="{5F815A55-7FC3-4FA3-ABF3-2D4390A8360E}" destId="{D3C7E271-0B35-4572-A4B6-D834F3C461B8}" srcOrd="0" destOrd="0" parTransId="{AFD7C7E1-87D5-4713-84FC-7E021BEAC1D7}" sibTransId="{81ADA548-D70B-4DCC-A838-EEB773026924}"/>
    <dgm:cxn modelId="{CA7AB87B-809F-4048-9E83-61A27B0D8D50}" type="presOf" srcId="{5554FE02-DF4C-4E57-9DDB-B3B9E1155A75}" destId="{47EF0C8B-5593-4AD0-BE10-D1DCAF08C4F0}" srcOrd="0" destOrd="1" presId="urn:microsoft.com/office/officeart/2005/8/layout/target3"/>
    <dgm:cxn modelId="{49BA5D7F-204F-4804-BEB8-659B1817EC7A}" type="presOf" srcId="{7C9BBA7F-69BB-4688-B9F5-C424675DADDA}" destId="{9A04F62D-DC7B-4603-88C3-6A908805D98D}" srcOrd="0" destOrd="0" presId="urn:microsoft.com/office/officeart/2005/8/layout/target3"/>
    <dgm:cxn modelId="{C53FBC87-6BF7-444C-AD1D-C664C6A5B911}" srcId="{602704CB-89C9-4D28-9876-EC4325B8CC4C}" destId="{A4333F56-9555-4E57-A5F1-FA9D346C2223}" srcOrd="2" destOrd="0" parTransId="{4AF9A5EA-7407-43BA-815F-7F2ED1D31A00}" sibTransId="{2D2DD1A2-8FC7-40BC-99B1-E235269377EA}"/>
    <dgm:cxn modelId="{6661F58D-803F-4D5B-ADEE-68832405D0D0}" type="presOf" srcId="{5F815A55-7FC3-4FA3-ABF3-2D4390A8360E}" destId="{33DF1E5E-B116-4DE8-A752-23204EFFA357}" srcOrd="0" destOrd="0" presId="urn:microsoft.com/office/officeart/2005/8/layout/target3"/>
    <dgm:cxn modelId="{B1D21B8F-E257-4383-BD47-173177763F9B}" type="presOf" srcId="{4A234FAF-730A-4DCE-9F8A-FBAEAEE366E0}" destId="{E0F94BF8-4AA2-4B57-BC67-E4836DE8E368}"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E3A9E0A6-1BFE-4BF9-B432-E11BBE425E40}" type="presOf" srcId="{D02FF7DE-69BD-40B1-B145-EEEB6F8D284F}" destId="{E0868841-CA79-48B0-8B24-06E20683B4DC}" srcOrd="0" destOrd="1" presId="urn:microsoft.com/office/officeart/2005/8/layout/target3"/>
    <dgm:cxn modelId="{4451A4B6-53B6-4E1C-8ADD-59ADAE3FA1F5}" type="presOf" srcId="{FE574766-C957-4D2F-BF75-6BC7D4DC6E61}" destId="{0EDE1A9E-0481-40C6-9336-53936D8E0933}" srcOrd="0" destOrd="1" presId="urn:microsoft.com/office/officeart/2005/8/layout/target3"/>
    <dgm:cxn modelId="{ACB13ABC-0C47-43EF-BB89-C83BCEF84699}" srcId="{141DAF27-9884-45C0-9A7F-F595B3DD1F34}" destId="{17DDBE6D-8F47-4601-9DC9-3DF580A41F62}" srcOrd="1" destOrd="0" parTransId="{92400FBC-C62C-4C5B-99CB-827CDF5187CD}" sibTransId="{7F7A9E99-F138-432E-8FD9-C9A01BD1FE1A}"/>
    <dgm:cxn modelId="{491F28C6-99A3-4300-B078-8960577AD6B4}" type="presOf" srcId="{BF97630A-959B-4336-BC08-0D06E06062F2}" destId="{E0868841-CA79-48B0-8B24-06E20683B4DC}" srcOrd="0" destOrd="0" presId="urn:microsoft.com/office/officeart/2005/8/layout/target3"/>
    <dgm:cxn modelId="{949098CC-AA3E-4AA2-BCF3-FBF375E51E32}" type="presOf" srcId="{141DAF27-9884-45C0-9A7F-F595B3DD1F34}" destId="{46F499B8-4ACA-4A7A-8C1E-14F4ECB3276F}" srcOrd="0" destOrd="0" presId="urn:microsoft.com/office/officeart/2005/8/layout/target3"/>
    <dgm:cxn modelId="{F16D32CE-2194-4BC5-AD11-1B1657BA7C9D}" type="presOf" srcId="{46A13AB2-7A6A-4D92-949C-96598476F708}" destId="{0EDE1A9E-0481-40C6-9336-53936D8E0933}" srcOrd="0" destOrd="0" presId="urn:microsoft.com/office/officeart/2005/8/layout/target3"/>
    <dgm:cxn modelId="{F9407ACF-4ED1-4855-9CA6-3C0761C03E03}" type="presOf" srcId="{A4333F56-9555-4E57-A5F1-FA9D346C2223}" destId="{E0868841-CA79-48B0-8B24-06E20683B4DC}" srcOrd="0" destOrd="2" presId="urn:microsoft.com/office/officeart/2005/8/layout/target3"/>
    <dgm:cxn modelId="{0D9055D0-42C3-4AB7-9C92-A4D0CC9445DF}" type="presOf" srcId="{602704CB-89C9-4D28-9876-EC4325B8CC4C}" destId="{6A5345A5-A76B-4BCF-92AC-A71579632611}" srcOrd="1" destOrd="0" presId="urn:microsoft.com/office/officeart/2005/8/layout/target3"/>
    <dgm:cxn modelId="{2EB8A2DC-2816-4888-98E9-63B31CC67BB8}" srcId="{6A993D06-AA99-4F3D-B309-9798F18CDE0C}" destId="{7C9BBA7F-69BB-4688-B9F5-C424675DADDA}" srcOrd="2" destOrd="0" parTransId="{9ADE456D-12C4-43E7-9AD8-8DED8C3E6AF8}" sibTransId="{0F569CE6-76AB-48E8-BFCA-646B74A41ACF}"/>
    <dgm:cxn modelId="{5CEDD6F0-B86B-4D00-8609-761474065990}" type="presOf" srcId="{5F815A55-7FC3-4FA3-ABF3-2D4390A8360E}" destId="{582BB24D-F711-4FC1-8A3D-FBFC5C0C001B}" srcOrd="1" destOrd="0" presId="urn:microsoft.com/office/officeart/2005/8/layout/target3"/>
    <dgm:cxn modelId="{4FF911F5-124E-42CE-AD60-FAC0B1304BDB}" type="presOf" srcId="{7C9BBA7F-69BB-4688-B9F5-C424675DADDA}" destId="{14377955-2B82-4E05-ABC5-A06C6B7B0DCA}" srcOrd="1" destOrd="0"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EB929BD-FB6C-4C61-BFC5-C965D6DBA5D9}" type="presParOf" srcId="{F47B56F4-E8EA-47BE-9641-1936281C3385}" destId="{502197CC-F643-454C-B0C0-13898FE31404}" srcOrd="3" destOrd="0" presId="urn:microsoft.com/office/officeart/2005/8/layout/target3"/>
    <dgm:cxn modelId="{6EC97061-62CB-4142-BA8D-B0F82ECB89C8}" type="presParOf" srcId="{F47B56F4-E8EA-47BE-9641-1936281C3385}" destId="{428EF539-45CC-4194-B5EC-45F99322CA47}" srcOrd="4" destOrd="0" presId="urn:microsoft.com/office/officeart/2005/8/layout/target3"/>
    <dgm:cxn modelId="{E0EEF365-4684-4C13-9A4E-8BFE8516BAF6}" type="presParOf" srcId="{F47B56F4-E8EA-47BE-9641-1936281C3385}" destId="{46F499B8-4ACA-4A7A-8C1E-14F4ECB3276F}" srcOrd="5" destOrd="0" presId="urn:microsoft.com/office/officeart/2005/8/layout/target3"/>
    <dgm:cxn modelId="{5070BE96-C432-4A6E-B2BF-626E54927A7A}" type="presParOf" srcId="{F47B56F4-E8EA-47BE-9641-1936281C3385}" destId="{BF1BF36C-73FF-4483-9533-AA0F0C5B3067}" srcOrd="6" destOrd="0" presId="urn:microsoft.com/office/officeart/2005/8/layout/target3"/>
    <dgm:cxn modelId="{AD162BC6-2B6D-4869-B684-93754A34D2C9}" type="presParOf" srcId="{F47B56F4-E8EA-47BE-9641-1936281C3385}" destId="{2AA95DD1-241A-47B0-A74F-4B79E2FADBC4}" srcOrd="7" destOrd="0" presId="urn:microsoft.com/office/officeart/2005/8/layout/target3"/>
    <dgm:cxn modelId="{7BE618FA-255D-470B-AEDA-1E1F3D3807BA}" type="presParOf" srcId="{F47B56F4-E8EA-47BE-9641-1936281C3385}" destId="{9A04F62D-DC7B-4603-88C3-6A908805D98D}" srcOrd="8" destOrd="0" presId="urn:microsoft.com/office/officeart/2005/8/layout/target3"/>
    <dgm:cxn modelId="{07628237-61E7-47AD-B0C0-77B184E15504}" type="presParOf" srcId="{F47B56F4-E8EA-47BE-9641-1936281C3385}" destId="{5DA0C5BB-3611-4CC4-83F8-A60156A7D917}" srcOrd="9" destOrd="0" presId="urn:microsoft.com/office/officeart/2005/8/layout/target3"/>
    <dgm:cxn modelId="{40DD1EAD-19DA-423F-B09E-B20CAA19D8E4}" type="presParOf" srcId="{F47B56F4-E8EA-47BE-9641-1936281C3385}" destId="{C128E0FC-B373-4319-9068-817E84F9ECD6}" srcOrd="10" destOrd="0" presId="urn:microsoft.com/office/officeart/2005/8/layout/target3"/>
    <dgm:cxn modelId="{5839A26B-1130-4CB2-AB9B-2C29C8C48DBA}" type="presParOf" srcId="{F47B56F4-E8EA-47BE-9641-1936281C3385}" destId="{33DF1E5E-B116-4DE8-A752-23204EFFA357}"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2FF176C5-F89F-40DB-B828-F230E77E6549}" type="presParOf" srcId="{F47B56F4-E8EA-47BE-9641-1936281C3385}" destId="{4BC73606-CFE8-45C2-9215-EBE823B3C704}" srcOrd="14" destOrd="0" presId="urn:microsoft.com/office/officeart/2005/8/layout/target3"/>
    <dgm:cxn modelId="{CAF0CB27-6F86-4D74-B909-7E2229EBBA0A}" type="presParOf" srcId="{F47B56F4-E8EA-47BE-9641-1936281C3385}" destId="{E0F94BF8-4AA2-4B57-BC67-E4836DE8E368}" srcOrd="15" destOrd="0" presId="urn:microsoft.com/office/officeart/2005/8/layout/target3"/>
    <dgm:cxn modelId="{145C9F10-4AB0-443D-86A6-BD51E71E6F59}" type="presParOf" srcId="{F47B56F4-E8EA-47BE-9641-1936281C3385}" destId="{14377955-2B82-4E05-ABC5-A06C6B7B0DCA}" srcOrd="16" destOrd="0" presId="urn:microsoft.com/office/officeart/2005/8/layout/target3"/>
    <dgm:cxn modelId="{70738D2F-8540-4D72-AE74-2E1A4D859436}" type="presParOf" srcId="{F47B56F4-E8EA-47BE-9641-1936281C3385}" destId="{0EDE1A9E-0481-40C6-9336-53936D8E0933}" srcOrd="17" destOrd="0" presId="urn:microsoft.com/office/officeart/2005/8/layout/target3"/>
    <dgm:cxn modelId="{00EF47B6-378C-4498-8807-420F511AD919}" type="presParOf" srcId="{F47B56F4-E8EA-47BE-9641-1936281C3385}" destId="{582BB24D-F711-4FC1-8A3D-FBFC5C0C001B}" srcOrd="18" destOrd="0" presId="urn:microsoft.com/office/officeart/2005/8/layout/target3"/>
    <dgm:cxn modelId="{379A00FA-0F3F-4DD2-83F4-E3FE2BC1B223}" type="presParOf" srcId="{F47B56F4-E8EA-47BE-9641-1936281C3385}" destId="{47EF0C8B-5593-4AD0-BE10-D1DCAF08C4F0}"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endParaRPr lang="en-US" dirty="0"/>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dirty="0"/>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dirty="0"/>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dirty="0"/>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dirty="0"/>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dirty="0"/>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dirty="0"/>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dirty="0"/>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dirty="0"/>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dirty="0"/>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dirty="0"/>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dirty="0"/>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dirty="0"/>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endParaRPr lang="en-US" dirty="0"/>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dirty="0"/>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dirty="0"/>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dirty="0"/>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dirty="0"/>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dirty="0"/>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dirty="0"/>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dirty="0"/>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dirty="0"/>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dirty="0"/>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dirty="0"/>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dirty="0"/>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dirty="0"/>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6A993D06-AA99-4F3D-B309-9798F18CDE0C}"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a:t>End Users</a:t>
          </a:r>
          <a:endParaRPr lang="en-US" dirty="0"/>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0185057B-7951-4CFB-A40A-E09B151F0921}">
      <dgm:prSet phldrT="[Text]"/>
      <dgm:spPr/>
      <dgm:t>
        <a:bodyPr/>
        <a:lstStyle/>
        <a:p>
          <a:r>
            <a:rPr lang="en-US" dirty="0"/>
            <a:t>Any user can work with data</a:t>
          </a:r>
        </a:p>
      </dgm:t>
    </dgm:pt>
    <dgm:pt modelId="{453830A6-C812-49F6-85F5-9E28C7C8E7D6}" type="parTrans" cxnId="{C3C05F7E-54C5-4AE8-9763-ED31563A0CF5}">
      <dgm:prSet/>
      <dgm:spPr/>
      <dgm:t>
        <a:bodyPr/>
        <a:lstStyle/>
        <a:p>
          <a:endParaRPr lang="en-US"/>
        </a:p>
      </dgm:t>
    </dgm:pt>
    <dgm:pt modelId="{F888B5FD-94A8-4C76-9049-70BA5EE882E9}" type="sibTrans" cxnId="{C3C05F7E-54C5-4AE8-9763-ED31563A0CF5}">
      <dgm:prSet/>
      <dgm:spPr/>
      <dgm:t>
        <a:bodyPr/>
        <a:lstStyle/>
        <a:p>
          <a:endParaRPr lang="en-US"/>
        </a:p>
      </dgm:t>
    </dgm:pt>
    <dgm:pt modelId="{E405AC8B-DB75-4271-95AE-CC58CA46D61A}">
      <dgm:prSet phldrT="[Text]"/>
      <dgm:spPr/>
      <dgm:t>
        <a:bodyPr/>
        <a:lstStyle/>
        <a:p>
          <a:r>
            <a:rPr lang="en-US" dirty="0"/>
            <a:t>Curated datasets</a:t>
          </a:r>
        </a:p>
      </dgm:t>
    </dgm:pt>
    <dgm:pt modelId="{AE25F95B-0C08-488A-9852-47597FBC765D}" type="parTrans" cxnId="{4E9712D7-947C-4744-97EF-16AFF4A4D53E}">
      <dgm:prSet/>
      <dgm:spPr/>
      <dgm:t>
        <a:bodyPr/>
        <a:lstStyle/>
        <a:p>
          <a:endParaRPr lang="en-US"/>
        </a:p>
      </dgm:t>
    </dgm:pt>
    <dgm:pt modelId="{A00984A1-CD5A-42C8-B14E-0C401E1692B3}" type="sibTrans" cxnId="{4E9712D7-947C-4744-97EF-16AFF4A4D53E}">
      <dgm:prSet/>
      <dgm:spPr/>
      <dgm:t>
        <a:bodyPr/>
        <a:lstStyle/>
        <a:p>
          <a:endParaRPr lang="en-US"/>
        </a:p>
      </dgm:t>
    </dgm:pt>
    <dgm:pt modelId="{D9D549E6-36B2-42FB-93C2-B09E3FB24F75}">
      <dgm:prSet phldrT="[Text]"/>
      <dgm:spPr/>
      <dgm:t>
        <a:bodyPr/>
        <a:lstStyle/>
        <a:p>
          <a:r>
            <a:rPr lang="en-US" dirty="0"/>
            <a:t>Users in Key Departments</a:t>
          </a:r>
        </a:p>
      </dgm:t>
    </dgm:pt>
    <dgm:pt modelId="{DA6B62B4-7B8E-4004-82B9-E162DF4B35AC}" type="parTrans" cxnId="{73FBFC60-6ACF-4C7E-83F2-A9E5CEF39596}">
      <dgm:prSet/>
      <dgm:spPr/>
      <dgm:t>
        <a:bodyPr/>
        <a:lstStyle/>
        <a:p>
          <a:endParaRPr lang="en-US"/>
        </a:p>
      </dgm:t>
    </dgm:pt>
    <dgm:pt modelId="{C0A75C7A-4093-47DB-A4F4-2E3D270959FE}" type="sibTrans" cxnId="{73FBFC60-6ACF-4C7E-83F2-A9E5CEF39596}">
      <dgm:prSet/>
      <dgm:spPr/>
      <dgm:t>
        <a:bodyPr/>
        <a:lstStyle/>
        <a:p>
          <a:endParaRPr lang="en-US"/>
        </a:p>
      </dgm:t>
    </dgm:pt>
    <dgm:pt modelId="{57F95F84-7420-42F8-B62B-F121D51F583E}">
      <dgm:prSet phldrT="[Text]"/>
      <dgm:spPr/>
      <dgm:t>
        <a:bodyPr/>
        <a:lstStyle/>
        <a:p>
          <a:r>
            <a:rPr lang="en-US" dirty="0"/>
            <a:t>Any user can work with data</a:t>
          </a:r>
        </a:p>
      </dgm:t>
    </dgm:pt>
    <dgm:pt modelId="{6D8EBF3C-E87E-4233-86F7-BBFCD7A7DCED}" type="parTrans" cxnId="{C3401FC4-3DB9-4471-8443-7ECDDB5EE7B7}">
      <dgm:prSet/>
      <dgm:spPr/>
      <dgm:t>
        <a:bodyPr/>
        <a:lstStyle/>
        <a:p>
          <a:endParaRPr lang="en-US"/>
        </a:p>
      </dgm:t>
    </dgm:pt>
    <dgm:pt modelId="{F612B89B-1F52-43B7-91EF-AB7B332BD47B}" type="sibTrans" cxnId="{C3401FC4-3DB9-4471-8443-7ECDDB5EE7B7}">
      <dgm:prSet/>
      <dgm:spPr/>
      <dgm:t>
        <a:bodyPr/>
        <a:lstStyle/>
        <a:p>
          <a:endParaRPr lang="en-US"/>
        </a:p>
      </dgm:t>
    </dgm:pt>
    <dgm:pt modelId="{1ABD9F05-4229-440F-A819-F04C0D014FB2}">
      <dgm:prSet phldrT="[Text]"/>
      <dgm:spPr/>
      <dgm:t>
        <a:bodyPr/>
        <a:lstStyle/>
        <a:p>
          <a:r>
            <a:rPr lang="en-US" dirty="0"/>
            <a:t>More data available</a:t>
          </a:r>
        </a:p>
      </dgm:t>
    </dgm:pt>
    <dgm:pt modelId="{A24F785E-3BC0-4C28-B1A4-349460C440FA}" type="parTrans" cxnId="{922F0778-24A2-4A70-8B35-ED447B895CA2}">
      <dgm:prSet/>
      <dgm:spPr/>
      <dgm:t>
        <a:bodyPr/>
        <a:lstStyle/>
        <a:p>
          <a:endParaRPr lang="en-US"/>
        </a:p>
      </dgm:t>
    </dgm:pt>
    <dgm:pt modelId="{4250D2C2-FEBD-4127-8B44-1DA958A00152}" type="sibTrans" cxnId="{922F0778-24A2-4A70-8B35-ED447B895CA2}">
      <dgm:prSet/>
      <dgm:spPr/>
      <dgm:t>
        <a:bodyPr/>
        <a:lstStyle/>
        <a:p>
          <a:endParaRPr lang="en-US"/>
        </a:p>
      </dgm:t>
    </dgm:pt>
    <dgm:pt modelId="{46C08378-7670-45FB-A05C-B1B45B12BBE2}">
      <dgm:prSet phldrT="[Text]"/>
      <dgm:spPr/>
      <dgm:t>
        <a:bodyPr/>
        <a:lstStyle/>
        <a:p>
          <a:r>
            <a:rPr lang="en-US" dirty="0"/>
            <a:t>Power Users</a:t>
          </a:r>
        </a:p>
      </dgm:t>
    </dgm:pt>
    <dgm:pt modelId="{450A703D-68FF-483E-8A1D-EC7BD13FA9F5}" type="parTrans" cxnId="{DE5F6DEF-870B-4BBB-A88A-B550E90B433C}">
      <dgm:prSet/>
      <dgm:spPr/>
      <dgm:t>
        <a:bodyPr/>
        <a:lstStyle/>
        <a:p>
          <a:endParaRPr lang="en-US"/>
        </a:p>
      </dgm:t>
    </dgm:pt>
    <dgm:pt modelId="{99DFD126-014D-4EA9-9922-AA45CE62796F}" type="sibTrans" cxnId="{DE5F6DEF-870B-4BBB-A88A-B550E90B433C}">
      <dgm:prSet/>
      <dgm:spPr/>
      <dgm:t>
        <a:bodyPr/>
        <a:lstStyle/>
        <a:p>
          <a:endParaRPr lang="en-US"/>
        </a:p>
      </dgm:t>
    </dgm:pt>
    <dgm:pt modelId="{9A4FBD4F-0A0F-4EB2-B338-B137F0134359}">
      <dgm:prSet phldrT="[Text]"/>
      <dgm:spPr/>
      <dgm:t>
        <a:bodyPr/>
        <a:lstStyle/>
        <a:p>
          <a:r>
            <a:rPr lang="en-US" dirty="0"/>
            <a:t>More skills</a:t>
          </a:r>
        </a:p>
      </dgm:t>
    </dgm:pt>
    <dgm:pt modelId="{9FF2DB91-4124-4D3B-88DD-4EA8F5286A49}" type="parTrans" cxnId="{AB45A043-26F2-4B88-8CF9-88CD9E7F8298}">
      <dgm:prSet/>
      <dgm:spPr/>
      <dgm:t>
        <a:bodyPr/>
        <a:lstStyle/>
        <a:p>
          <a:endParaRPr lang="en-US"/>
        </a:p>
      </dgm:t>
    </dgm:pt>
    <dgm:pt modelId="{9455D2A3-600A-4827-B750-0406D3B35E36}" type="sibTrans" cxnId="{AB45A043-26F2-4B88-8CF9-88CD9E7F8298}">
      <dgm:prSet/>
      <dgm:spPr/>
      <dgm:t>
        <a:bodyPr/>
        <a:lstStyle/>
        <a:p>
          <a:endParaRPr lang="en-US"/>
        </a:p>
      </dgm:t>
    </dgm:pt>
    <dgm:pt modelId="{C9192EBF-0FFE-484B-8696-555A1E05E7BB}">
      <dgm:prSet phldrT="[Text]"/>
      <dgm:spPr/>
      <dgm:t>
        <a:bodyPr/>
        <a:lstStyle/>
        <a:p>
          <a:r>
            <a:rPr lang="en-US" dirty="0"/>
            <a:t>More tools</a:t>
          </a:r>
        </a:p>
      </dgm:t>
    </dgm:pt>
    <dgm:pt modelId="{23E3B11D-C018-4EF5-81A3-51C14A54F2E6}" type="parTrans" cxnId="{726020A8-7EEC-40AB-9C69-8164CC1D01E7}">
      <dgm:prSet/>
      <dgm:spPr/>
      <dgm:t>
        <a:bodyPr/>
        <a:lstStyle/>
        <a:p>
          <a:endParaRPr lang="en-US"/>
        </a:p>
      </dgm:t>
    </dgm:pt>
    <dgm:pt modelId="{7636818B-4D12-4E57-8D8F-CED23278DDB2}" type="sibTrans" cxnId="{726020A8-7EEC-40AB-9C69-8164CC1D01E7}">
      <dgm:prSet/>
      <dgm:spPr/>
      <dgm:t>
        <a:bodyPr/>
        <a:lstStyle/>
        <a:p>
          <a:endParaRPr lang="en-US"/>
        </a:p>
      </dgm:t>
    </dgm:pt>
    <dgm:pt modelId="{B6F897A9-3C0C-48A1-8480-EA708B130775}">
      <dgm:prSet phldrT="[Text]"/>
      <dgm:spPr/>
      <dgm:t>
        <a:bodyPr/>
        <a:lstStyle/>
        <a:p>
          <a:r>
            <a:rPr lang="en-US" dirty="0"/>
            <a:t>Better resources</a:t>
          </a:r>
        </a:p>
      </dgm:t>
    </dgm:pt>
    <dgm:pt modelId="{54363FAB-3873-47BF-ADFF-F46A39170388}" type="parTrans" cxnId="{D27E3773-6CB3-4C17-B41C-DAD4FCBAE290}">
      <dgm:prSet/>
      <dgm:spPr/>
      <dgm:t>
        <a:bodyPr/>
        <a:lstStyle/>
        <a:p>
          <a:endParaRPr lang="en-US"/>
        </a:p>
      </dgm:t>
    </dgm:pt>
    <dgm:pt modelId="{D6802A6A-BE3B-4803-8EFA-B208503EAE6C}" type="sibTrans" cxnId="{D27E3773-6CB3-4C17-B41C-DAD4FCBAE290}">
      <dgm:prSet/>
      <dgm:spPr/>
      <dgm:t>
        <a:bodyPr/>
        <a:lstStyle/>
        <a:p>
          <a:endParaRPr lang="en-US"/>
        </a:p>
      </dgm:t>
    </dgm:pt>
    <dgm:pt modelId="{F3F5508C-7E6C-4C20-AD69-3CE5ED2C1A02}">
      <dgm:prSet phldrT="[Text]"/>
      <dgm:spPr/>
      <dgm:t>
        <a:bodyPr/>
        <a:lstStyle/>
        <a:p>
          <a:r>
            <a:rPr lang="en-US" dirty="0"/>
            <a:t>Hardcore IT</a:t>
          </a:r>
        </a:p>
      </dgm:t>
    </dgm:pt>
    <dgm:pt modelId="{FBE7C894-F885-4778-81B6-2F7D59283A17}" type="parTrans" cxnId="{DA00A8AB-D5A8-4C9B-824B-A0F358586945}">
      <dgm:prSet/>
      <dgm:spPr/>
      <dgm:t>
        <a:bodyPr/>
        <a:lstStyle/>
        <a:p>
          <a:endParaRPr lang="en-US"/>
        </a:p>
      </dgm:t>
    </dgm:pt>
    <dgm:pt modelId="{77ACB143-29F9-4113-9C3B-FDA27F058024}" type="sibTrans" cxnId="{DA00A8AB-D5A8-4C9B-824B-A0F358586945}">
      <dgm:prSet/>
      <dgm:spPr/>
      <dgm:t>
        <a:bodyPr/>
        <a:lstStyle/>
        <a:p>
          <a:endParaRPr lang="en-US"/>
        </a:p>
      </dgm:t>
    </dgm:pt>
    <dgm:pt modelId="{F5A968C8-5E7E-4683-8EDA-4201CCB60C91}">
      <dgm:prSet phldrT="[Text]"/>
      <dgm:spPr/>
      <dgm:t>
        <a:bodyPr/>
        <a:lstStyle/>
        <a:p>
          <a:r>
            <a:rPr lang="en-US" dirty="0"/>
            <a:t>Professional developers</a:t>
          </a:r>
        </a:p>
      </dgm:t>
    </dgm:pt>
    <dgm:pt modelId="{29E83CAF-BE0F-4B2A-A973-CC74F4B3E5B4}" type="parTrans" cxnId="{0DEC4FD6-77A8-4BC0-8852-7F2AB683005D}">
      <dgm:prSet/>
      <dgm:spPr/>
      <dgm:t>
        <a:bodyPr/>
        <a:lstStyle/>
        <a:p>
          <a:endParaRPr lang="en-US"/>
        </a:p>
      </dgm:t>
    </dgm:pt>
    <dgm:pt modelId="{D84F08FC-EE44-4C99-841F-D3613A857926}" type="sibTrans" cxnId="{0DEC4FD6-77A8-4BC0-8852-7F2AB683005D}">
      <dgm:prSet/>
      <dgm:spPr/>
      <dgm:t>
        <a:bodyPr/>
        <a:lstStyle/>
        <a:p>
          <a:endParaRPr lang="en-US"/>
        </a:p>
      </dgm:t>
    </dgm:pt>
    <dgm:pt modelId="{C33FC17C-6104-4096-A10D-43645D8D5BFC}">
      <dgm:prSet phldrT="[Text]"/>
      <dgm:spPr/>
      <dgm:t>
        <a:bodyPr/>
        <a:lstStyle/>
        <a:p>
          <a:r>
            <a:rPr lang="en-US" dirty="0"/>
            <a:t>Traditional owners of BI</a:t>
          </a:r>
        </a:p>
      </dgm:t>
    </dgm:pt>
    <dgm:pt modelId="{CEC145FE-1DF0-4F44-AB4B-3DCEFD34F208}" type="parTrans" cxnId="{4059BCD3-EB88-4571-89E5-1FEB4282CE52}">
      <dgm:prSet/>
      <dgm:spPr/>
      <dgm:t>
        <a:bodyPr/>
        <a:lstStyle/>
        <a:p>
          <a:endParaRPr lang="en-US"/>
        </a:p>
      </dgm:t>
    </dgm:pt>
    <dgm:pt modelId="{598FA458-915F-4140-84B7-BC0F546F2296}" type="sibTrans" cxnId="{4059BCD3-EB88-4571-89E5-1FEB4282CE52}">
      <dgm:prSet/>
      <dgm:spPr/>
      <dgm:t>
        <a:bodyPr/>
        <a:lstStyle/>
        <a:p>
          <a:endParaRPr lang="en-US"/>
        </a:p>
      </dgm:t>
    </dgm:pt>
    <dgm:pt modelId="{F47B56F4-E8EA-47BE-9641-1936281C3385}" type="pres">
      <dgm:prSet presAssocID="{6A993D06-AA99-4F3D-B309-9798F18CDE0C}" presName="Name0" presStyleCnt="0">
        <dgm:presLayoutVars>
          <dgm:chMax val="7"/>
          <dgm:dir/>
          <dgm:animLvl val="lvl"/>
          <dgm:resizeHandles val="exact"/>
        </dgm:presLayoutVars>
      </dgm:prSet>
      <dgm:spPr/>
    </dgm:pt>
    <dgm:pt modelId="{913285EF-7CF0-4D03-9C7E-A9EFF915D1E6}" type="pres">
      <dgm:prSet presAssocID="{602704CB-89C9-4D28-9876-EC4325B8CC4C}" presName="circle1" presStyleLbl="node1" presStyleIdx="0" presStyleCnt="4"/>
      <dgm:spPr>
        <a:solidFill>
          <a:srgbClr val="ED7D31"/>
        </a:solidFill>
      </dgm:spPr>
    </dgm:pt>
    <dgm:pt modelId="{FC6A5E09-AF97-4448-8CE0-94BE4C46FE32}" type="pres">
      <dgm:prSet presAssocID="{602704CB-89C9-4D28-9876-EC4325B8CC4C}" presName="space" presStyleCnt="0"/>
      <dgm:spPr/>
    </dgm:pt>
    <dgm:pt modelId="{F1271936-9E56-4BB3-AA63-1ACD49AF8B48}" type="pres">
      <dgm:prSet presAssocID="{602704CB-89C9-4D28-9876-EC4325B8CC4C}" presName="rect1" presStyleLbl="alignAcc1" presStyleIdx="0" presStyleCnt="4"/>
      <dgm:spPr/>
    </dgm:pt>
    <dgm:pt modelId="{28B379E2-B7C3-4C08-A5D0-C8D0C2799ECE}" type="pres">
      <dgm:prSet presAssocID="{D9D549E6-36B2-42FB-93C2-B09E3FB24F75}" presName="vertSpace2" presStyleLbl="node1" presStyleIdx="0" presStyleCnt="4"/>
      <dgm:spPr/>
    </dgm:pt>
    <dgm:pt modelId="{BB5965C5-F907-483A-B0A5-414578A21B77}" type="pres">
      <dgm:prSet presAssocID="{D9D549E6-36B2-42FB-93C2-B09E3FB24F75}" presName="circle2" presStyleLbl="node1" presStyleIdx="1" presStyleCnt="4"/>
      <dgm:spPr>
        <a:solidFill>
          <a:srgbClr val="A5A5A5"/>
        </a:solidFill>
      </dgm:spPr>
    </dgm:pt>
    <dgm:pt modelId="{9EA332EC-4F8C-4AEA-9B46-C6A414F7A033}" type="pres">
      <dgm:prSet presAssocID="{D9D549E6-36B2-42FB-93C2-B09E3FB24F75}" presName="rect2" presStyleLbl="alignAcc1" presStyleIdx="1" presStyleCnt="4"/>
      <dgm:spPr/>
    </dgm:pt>
    <dgm:pt modelId="{5FBBD777-AD2B-442B-8929-54E6F9D5888F}" type="pres">
      <dgm:prSet presAssocID="{46C08378-7670-45FB-A05C-B1B45B12BBE2}" presName="vertSpace3" presStyleLbl="node1" presStyleIdx="1" presStyleCnt="4"/>
      <dgm:spPr/>
    </dgm:pt>
    <dgm:pt modelId="{49156CC1-4316-4278-8CEF-4AC787FCE06A}" type="pres">
      <dgm:prSet presAssocID="{46C08378-7670-45FB-A05C-B1B45B12BBE2}" presName="circle3" presStyleLbl="node1" presStyleIdx="2" presStyleCnt="4"/>
      <dgm:spPr>
        <a:solidFill>
          <a:srgbClr val="FFC000"/>
        </a:solidFill>
      </dgm:spPr>
    </dgm:pt>
    <dgm:pt modelId="{039A6B55-D247-481E-B079-427345A889D5}" type="pres">
      <dgm:prSet presAssocID="{46C08378-7670-45FB-A05C-B1B45B12BBE2}" presName="rect3" presStyleLbl="alignAcc1" presStyleIdx="2" presStyleCnt="4"/>
      <dgm:spPr/>
    </dgm:pt>
    <dgm:pt modelId="{DEAB3DFD-FEAA-4ABE-B222-94C92237C897}" type="pres">
      <dgm:prSet presAssocID="{F3F5508C-7E6C-4C20-AD69-3CE5ED2C1A02}" presName="vertSpace4" presStyleLbl="node1" presStyleIdx="2" presStyleCnt="4"/>
      <dgm:spPr/>
    </dgm:pt>
    <dgm:pt modelId="{BECD5256-D636-446C-B5FE-6A37BB73EB67}" type="pres">
      <dgm:prSet presAssocID="{F3F5508C-7E6C-4C20-AD69-3CE5ED2C1A02}" presName="circle4" presStyleLbl="node1" presStyleIdx="3" presStyleCnt="4"/>
      <dgm:spPr>
        <a:solidFill>
          <a:srgbClr val="5B9BD5"/>
        </a:solidFill>
      </dgm:spPr>
    </dgm:pt>
    <dgm:pt modelId="{4914F23A-A444-4242-B2A7-9CA012AE34B8}" type="pres">
      <dgm:prSet presAssocID="{F3F5508C-7E6C-4C20-AD69-3CE5ED2C1A02}" presName="rect4" presStyleLbl="alignAcc1" presStyleIdx="3" presStyleCnt="4"/>
      <dgm:spPr/>
    </dgm:pt>
    <dgm:pt modelId="{6A5345A5-A76B-4BCF-92AC-A71579632611}" type="pres">
      <dgm:prSet presAssocID="{602704CB-89C9-4D28-9876-EC4325B8CC4C}" presName="rect1ParTx" presStyleLbl="alignAcc1" presStyleIdx="3" presStyleCnt="4">
        <dgm:presLayoutVars>
          <dgm:chMax val="1"/>
          <dgm:bulletEnabled val="1"/>
        </dgm:presLayoutVars>
      </dgm:prSet>
      <dgm:spPr/>
    </dgm:pt>
    <dgm:pt modelId="{E0868841-CA79-48B0-8B24-06E20683B4DC}" type="pres">
      <dgm:prSet presAssocID="{602704CB-89C9-4D28-9876-EC4325B8CC4C}" presName="rect1ChTx" presStyleLbl="alignAcc1" presStyleIdx="3" presStyleCnt="4">
        <dgm:presLayoutVars>
          <dgm:bulletEnabled val="1"/>
        </dgm:presLayoutVars>
      </dgm:prSet>
      <dgm:spPr/>
    </dgm:pt>
    <dgm:pt modelId="{7561E617-5921-409C-AA7D-C655AB87F0E0}" type="pres">
      <dgm:prSet presAssocID="{D9D549E6-36B2-42FB-93C2-B09E3FB24F75}" presName="rect2ParTx" presStyleLbl="alignAcc1" presStyleIdx="3" presStyleCnt="4">
        <dgm:presLayoutVars>
          <dgm:chMax val="1"/>
          <dgm:bulletEnabled val="1"/>
        </dgm:presLayoutVars>
      </dgm:prSet>
      <dgm:spPr/>
    </dgm:pt>
    <dgm:pt modelId="{4A11FD6C-291E-4C7E-BD4C-D721A5D23244}" type="pres">
      <dgm:prSet presAssocID="{D9D549E6-36B2-42FB-93C2-B09E3FB24F75}" presName="rect2ChTx" presStyleLbl="alignAcc1" presStyleIdx="3" presStyleCnt="4">
        <dgm:presLayoutVars>
          <dgm:bulletEnabled val="1"/>
        </dgm:presLayoutVars>
      </dgm:prSet>
      <dgm:spPr/>
    </dgm:pt>
    <dgm:pt modelId="{B0FA4860-1BB8-4976-BFE5-0D9011C9B1F9}" type="pres">
      <dgm:prSet presAssocID="{46C08378-7670-45FB-A05C-B1B45B12BBE2}" presName="rect3ParTx" presStyleLbl="alignAcc1" presStyleIdx="3" presStyleCnt="4">
        <dgm:presLayoutVars>
          <dgm:chMax val="1"/>
          <dgm:bulletEnabled val="1"/>
        </dgm:presLayoutVars>
      </dgm:prSet>
      <dgm:spPr/>
    </dgm:pt>
    <dgm:pt modelId="{4133E269-082B-40CA-BDEE-0073C65D10D8}" type="pres">
      <dgm:prSet presAssocID="{46C08378-7670-45FB-A05C-B1B45B12BBE2}" presName="rect3ChTx" presStyleLbl="alignAcc1" presStyleIdx="3" presStyleCnt="4">
        <dgm:presLayoutVars>
          <dgm:bulletEnabled val="1"/>
        </dgm:presLayoutVars>
      </dgm:prSet>
      <dgm:spPr/>
    </dgm:pt>
    <dgm:pt modelId="{F9A5970F-448C-4C38-8B9C-0A409812C674}" type="pres">
      <dgm:prSet presAssocID="{F3F5508C-7E6C-4C20-AD69-3CE5ED2C1A02}" presName="rect4ParTx" presStyleLbl="alignAcc1" presStyleIdx="3" presStyleCnt="4">
        <dgm:presLayoutVars>
          <dgm:chMax val="1"/>
          <dgm:bulletEnabled val="1"/>
        </dgm:presLayoutVars>
      </dgm:prSet>
      <dgm:spPr/>
    </dgm:pt>
    <dgm:pt modelId="{C7047BA2-2019-4E65-A76B-4EE5B1055C58}" type="pres">
      <dgm:prSet presAssocID="{F3F5508C-7E6C-4C20-AD69-3CE5ED2C1A02}" presName="rect4ChTx" presStyleLbl="alignAcc1" presStyleIdx="3" presStyleCnt="4">
        <dgm:presLayoutVars>
          <dgm:bulletEnabled val="1"/>
        </dgm:presLayoutVars>
      </dgm:prSet>
      <dgm:spPr/>
    </dgm:pt>
  </dgm:ptLst>
  <dgm:cxnLst>
    <dgm:cxn modelId="{D480150A-0FB4-4F3B-A08B-3C3A58C7840E}" type="presOf" srcId="{46C08378-7670-45FB-A05C-B1B45B12BBE2}" destId="{B0FA4860-1BB8-4976-BFE5-0D9011C9B1F9}" srcOrd="1" destOrd="0" presId="urn:microsoft.com/office/officeart/2005/8/layout/target3"/>
    <dgm:cxn modelId="{3F79B514-258B-4DD8-8800-19418FB117DF}" type="presOf" srcId="{1ABD9F05-4229-440F-A819-F04C0D014FB2}" destId="{4A11FD6C-291E-4C7E-BD4C-D721A5D23244}" srcOrd="0" destOrd="1" presId="urn:microsoft.com/office/officeart/2005/8/layout/target3"/>
    <dgm:cxn modelId="{8E65031C-DEE5-4EAC-A336-B8D3EA01C724}" type="presOf" srcId="{F5A968C8-5E7E-4683-8EDA-4201CCB60C91}" destId="{C7047BA2-2019-4E65-A76B-4EE5B1055C58}" srcOrd="0" destOrd="0" presId="urn:microsoft.com/office/officeart/2005/8/layout/target3"/>
    <dgm:cxn modelId="{A84DC32A-CBF0-48B5-B6D8-57A203FDC8D0}" srcId="{6A993D06-AA99-4F3D-B309-9798F18CDE0C}" destId="{602704CB-89C9-4D28-9876-EC4325B8CC4C}" srcOrd="0" destOrd="0" parTransId="{BE9354C2-3BF1-4D07-9E24-3ADF61646F03}" sibTransId="{6F31C978-BF01-4475-A060-88428C032AC5}"/>
    <dgm:cxn modelId="{ADBF6E31-8B4D-4540-9D9B-FADBE10F5B91}" type="presOf" srcId="{6A993D06-AA99-4F3D-B309-9798F18CDE0C}" destId="{F47B56F4-E8EA-47BE-9641-1936281C3385}" srcOrd="0" destOrd="0" presId="urn:microsoft.com/office/officeart/2005/8/layout/target3"/>
    <dgm:cxn modelId="{0A5D7731-F019-4C5C-B497-3EE43DD0C5DB}" type="presOf" srcId="{57F95F84-7420-42F8-B62B-F121D51F583E}" destId="{4A11FD6C-291E-4C7E-BD4C-D721A5D23244}" srcOrd="0" destOrd="0" presId="urn:microsoft.com/office/officeart/2005/8/layout/target3"/>
    <dgm:cxn modelId="{CA95B433-4572-4854-B270-73C2C5640F91}" type="presOf" srcId="{C9192EBF-0FFE-484B-8696-555A1E05E7BB}" destId="{4133E269-082B-40CA-BDEE-0073C65D10D8}" srcOrd="0" destOrd="1" presId="urn:microsoft.com/office/officeart/2005/8/layout/target3"/>
    <dgm:cxn modelId="{73FBFC60-6ACF-4C7E-83F2-A9E5CEF39596}" srcId="{6A993D06-AA99-4F3D-B309-9798F18CDE0C}" destId="{D9D549E6-36B2-42FB-93C2-B09E3FB24F75}" srcOrd="1" destOrd="0" parTransId="{DA6B62B4-7B8E-4004-82B9-E162DF4B35AC}" sibTransId="{C0A75C7A-4093-47DB-A4F4-2E3D270959FE}"/>
    <dgm:cxn modelId="{AB45A043-26F2-4B88-8CF9-88CD9E7F8298}" srcId="{46C08378-7670-45FB-A05C-B1B45B12BBE2}" destId="{9A4FBD4F-0A0F-4EB2-B338-B137F0134359}" srcOrd="0" destOrd="0" parTransId="{9FF2DB91-4124-4D3B-88DD-4EA8F5286A49}" sibTransId="{9455D2A3-600A-4827-B750-0406D3B35E36}"/>
    <dgm:cxn modelId="{FA9DD166-271F-4990-BC51-68AD89513D9C}" type="presOf" srcId="{F3F5508C-7E6C-4C20-AD69-3CE5ED2C1A02}" destId="{F9A5970F-448C-4C38-8B9C-0A409812C674}" srcOrd="1" destOrd="0" presId="urn:microsoft.com/office/officeart/2005/8/layout/target3"/>
    <dgm:cxn modelId="{D2508268-5FE0-4D32-BD6D-33F64FA069C5}" type="presOf" srcId="{D9D549E6-36B2-42FB-93C2-B09E3FB24F75}" destId="{7561E617-5921-409C-AA7D-C655AB87F0E0}" srcOrd="1" destOrd="0" presId="urn:microsoft.com/office/officeart/2005/8/layout/target3"/>
    <dgm:cxn modelId="{D27E3773-6CB3-4C17-B41C-DAD4FCBAE290}" srcId="{46C08378-7670-45FB-A05C-B1B45B12BBE2}" destId="{B6F897A9-3C0C-48A1-8480-EA708B130775}" srcOrd="2" destOrd="0" parTransId="{54363FAB-3873-47BF-ADFF-F46A39170388}" sibTransId="{D6802A6A-BE3B-4803-8EFA-B208503EAE6C}"/>
    <dgm:cxn modelId="{922F0778-24A2-4A70-8B35-ED447B895CA2}" srcId="{D9D549E6-36B2-42FB-93C2-B09E3FB24F75}" destId="{1ABD9F05-4229-440F-A819-F04C0D014FB2}" srcOrd="1" destOrd="0" parTransId="{A24F785E-3BC0-4C28-B1A4-349460C440FA}" sibTransId="{4250D2C2-FEBD-4127-8B44-1DA958A00152}"/>
    <dgm:cxn modelId="{C3C05F7E-54C5-4AE8-9763-ED31563A0CF5}" srcId="{602704CB-89C9-4D28-9876-EC4325B8CC4C}" destId="{0185057B-7951-4CFB-A40A-E09B151F0921}" srcOrd="0" destOrd="0" parTransId="{453830A6-C812-49F6-85F5-9E28C7C8E7D6}" sibTransId="{F888B5FD-94A8-4C76-9049-70BA5EE882E9}"/>
    <dgm:cxn modelId="{E54C0283-9278-409E-A15F-1AA25C7C9252}" type="presOf" srcId="{F3F5508C-7E6C-4C20-AD69-3CE5ED2C1A02}" destId="{4914F23A-A444-4242-B2A7-9CA012AE34B8}" srcOrd="0" destOrd="0" presId="urn:microsoft.com/office/officeart/2005/8/layout/target3"/>
    <dgm:cxn modelId="{ED195584-A17C-4224-BEBD-391E3D428D21}" type="presOf" srcId="{0185057B-7951-4CFB-A40A-E09B151F0921}" destId="{E0868841-CA79-48B0-8B24-06E20683B4DC}" srcOrd="0" destOrd="0" presId="urn:microsoft.com/office/officeart/2005/8/layout/target3"/>
    <dgm:cxn modelId="{76859A8D-2BD2-4A1D-81E6-5BE661EB5C04}" type="presOf" srcId="{46C08378-7670-45FB-A05C-B1B45B12BBE2}" destId="{039A6B55-D247-481E-B079-427345A889D5}" srcOrd="0" destOrd="0" presId="urn:microsoft.com/office/officeart/2005/8/layout/target3"/>
    <dgm:cxn modelId="{7035C197-70F3-4607-A46D-3C163317677D}" type="presOf" srcId="{602704CB-89C9-4D28-9876-EC4325B8CC4C}" destId="{F1271936-9E56-4BB3-AA63-1ACD49AF8B48}" srcOrd="0" destOrd="0" presId="urn:microsoft.com/office/officeart/2005/8/layout/target3"/>
    <dgm:cxn modelId="{4033539C-5E76-4C3B-BF66-DD8E6710B8DD}" type="presOf" srcId="{B6F897A9-3C0C-48A1-8480-EA708B130775}" destId="{4133E269-082B-40CA-BDEE-0073C65D10D8}" srcOrd="0" destOrd="2" presId="urn:microsoft.com/office/officeart/2005/8/layout/target3"/>
    <dgm:cxn modelId="{726020A8-7EEC-40AB-9C69-8164CC1D01E7}" srcId="{46C08378-7670-45FB-A05C-B1B45B12BBE2}" destId="{C9192EBF-0FFE-484B-8696-555A1E05E7BB}" srcOrd="1" destOrd="0" parTransId="{23E3B11D-C018-4EF5-81A3-51C14A54F2E6}" sibTransId="{7636818B-4D12-4E57-8D8F-CED23278DDB2}"/>
    <dgm:cxn modelId="{DA00A8AB-D5A8-4C9B-824B-A0F358586945}" srcId="{6A993D06-AA99-4F3D-B309-9798F18CDE0C}" destId="{F3F5508C-7E6C-4C20-AD69-3CE5ED2C1A02}" srcOrd="3" destOrd="0" parTransId="{FBE7C894-F885-4778-81B6-2F7D59283A17}" sibTransId="{77ACB143-29F9-4113-9C3B-FDA27F058024}"/>
    <dgm:cxn modelId="{D1E160AC-A5AC-4CD1-BEFC-BC32D2581B88}" type="presOf" srcId="{9A4FBD4F-0A0F-4EB2-B338-B137F0134359}" destId="{4133E269-082B-40CA-BDEE-0073C65D10D8}" srcOrd="0" destOrd="0" presId="urn:microsoft.com/office/officeart/2005/8/layout/target3"/>
    <dgm:cxn modelId="{C3401FC4-3DB9-4471-8443-7ECDDB5EE7B7}" srcId="{D9D549E6-36B2-42FB-93C2-B09E3FB24F75}" destId="{57F95F84-7420-42F8-B62B-F121D51F583E}" srcOrd="0" destOrd="0" parTransId="{6D8EBF3C-E87E-4233-86F7-BBFCD7A7DCED}" sibTransId="{F612B89B-1F52-43B7-91EF-AB7B332BD47B}"/>
    <dgm:cxn modelId="{D7C63FD0-46D7-4EB7-AD39-33EF3DAEECEA}" type="presOf" srcId="{C33FC17C-6104-4096-A10D-43645D8D5BFC}" destId="{C7047BA2-2019-4E65-A76B-4EE5B1055C58}" srcOrd="0" destOrd="1" presId="urn:microsoft.com/office/officeart/2005/8/layout/target3"/>
    <dgm:cxn modelId="{0D9055D0-42C3-4AB7-9C92-A4D0CC9445DF}" type="presOf" srcId="{602704CB-89C9-4D28-9876-EC4325B8CC4C}" destId="{6A5345A5-A76B-4BCF-92AC-A71579632611}" srcOrd="1" destOrd="0" presId="urn:microsoft.com/office/officeart/2005/8/layout/target3"/>
    <dgm:cxn modelId="{4059BCD3-EB88-4571-89E5-1FEB4282CE52}" srcId="{F3F5508C-7E6C-4C20-AD69-3CE5ED2C1A02}" destId="{C33FC17C-6104-4096-A10D-43645D8D5BFC}" srcOrd="1" destOrd="0" parTransId="{CEC145FE-1DF0-4F44-AB4B-3DCEFD34F208}" sibTransId="{598FA458-915F-4140-84B7-BC0F546F2296}"/>
    <dgm:cxn modelId="{9FF1E8D3-048E-40E8-8BCA-251B7809E4F8}" type="presOf" srcId="{D9D549E6-36B2-42FB-93C2-B09E3FB24F75}" destId="{9EA332EC-4F8C-4AEA-9B46-C6A414F7A033}" srcOrd="0" destOrd="0" presId="urn:microsoft.com/office/officeart/2005/8/layout/target3"/>
    <dgm:cxn modelId="{0DEC4FD6-77A8-4BC0-8852-7F2AB683005D}" srcId="{F3F5508C-7E6C-4C20-AD69-3CE5ED2C1A02}" destId="{F5A968C8-5E7E-4683-8EDA-4201CCB60C91}" srcOrd="0" destOrd="0" parTransId="{29E83CAF-BE0F-4B2A-A973-CC74F4B3E5B4}" sibTransId="{D84F08FC-EE44-4C99-841F-D3613A857926}"/>
    <dgm:cxn modelId="{4E9712D7-947C-4744-97EF-16AFF4A4D53E}" srcId="{602704CB-89C9-4D28-9876-EC4325B8CC4C}" destId="{E405AC8B-DB75-4271-95AE-CC58CA46D61A}" srcOrd="1" destOrd="0" parTransId="{AE25F95B-0C08-488A-9852-47597FBC765D}" sibTransId="{A00984A1-CD5A-42C8-B14E-0C401E1692B3}"/>
    <dgm:cxn modelId="{DE5F6DEF-870B-4BBB-A88A-B550E90B433C}" srcId="{6A993D06-AA99-4F3D-B309-9798F18CDE0C}" destId="{46C08378-7670-45FB-A05C-B1B45B12BBE2}" srcOrd="2" destOrd="0" parTransId="{450A703D-68FF-483E-8A1D-EC7BD13FA9F5}" sibTransId="{99DFD126-014D-4EA9-9922-AA45CE62796F}"/>
    <dgm:cxn modelId="{084F98EF-47D5-4368-A0CB-C55D6FE2B61C}" type="presOf" srcId="{E405AC8B-DB75-4271-95AE-CC58CA46D61A}" destId="{E0868841-CA79-48B0-8B24-06E20683B4DC}" srcOrd="0" destOrd="1" presId="urn:microsoft.com/office/officeart/2005/8/layout/target3"/>
    <dgm:cxn modelId="{ADDD8129-512B-414B-9E9E-E2D1BBA407B6}" type="presParOf" srcId="{F47B56F4-E8EA-47BE-9641-1936281C3385}" destId="{913285EF-7CF0-4D03-9C7E-A9EFF915D1E6}" srcOrd="0" destOrd="0" presId="urn:microsoft.com/office/officeart/2005/8/layout/target3"/>
    <dgm:cxn modelId="{21DC1D99-B98B-4724-93C6-340D70C55F2C}" type="presParOf" srcId="{F47B56F4-E8EA-47BE-9641-1936281C3385}" destId="{FC6A5E09-AF97-4448-8CE0-94BE4C46FE32}" srcOrd="1" destOrd="0" presId="urn:microsoft.com/office/officeart/2005/8/layout/target3"/>
    <dgm:cxn modelId="{FA295983-AA73-4F97-BA9A-1F9732F5E4D0}" type="presParOf" srcId="{F47B56F4-E8EA-47BE-9641-1936281C3385}" destId="{F1271936-9E56-4BB3-AA63-1ACD49AF8B48}" srcOrd="2" destOrd="0" presId="urn:microsoft.com/office/officeart/2005/8/layout/target3"/>
    <dgm:cxn modelId="{CF9D1792-9CF8-44F1-837E-982C58BFADF8}" type="presParOf" srcId="{F47B56F4-E8EA-47BE-9641-1936281C3385}" destId="{28B379E2-B7C3-4C08-A5D0-C8D0C2799ECE}" srcOrd="3" destOrd="0" presId="urn:microsoft.com/office/officeart/2005/8/layout/target3"/>
    <dgm:cxn modelId="{C1C62C3D-5617-4297-89CF-D21F5E1B725C}" type="presParOf" srcId="{F47B56F4-E8EA-47BE-9641-1936281C3385}" destId="{BB5965C5-F907-483A-B0A5-414578A21B77}" srcOrd="4" destOrd="0" presId="urn:microsoft.com/office/officeart/2005/8/layout/target3"/>
    <dgm:cxn modelId="{8E6BE6B2-7935-4D7F-B539-1C8EAE6CA237}" type="presParOf" srcId="{F47B56F4-E8EA-47BE-9641-1936281C3385}" destId="{9EA332EC-4F8C-4AEA-9B46-C6A414F7A033}" srcOrd="5" destOrd="0" presId="urn:microsoft.com/office/officeart/2005/8/layout/target3"/>
    <dgm:cxn modelId="{078BD4AD-CB61-4C95-8578-A0C4D826C032}" type="presParOf" srcId="{F47B56F4-E8EA-47BE-9641-1936281C3385}" destId="{5FBBD777-AD2B-442B-8929-54E6F9D5888F}" srcOrd="6" destOrd="0" presId="urn:microsoft.com/office/officeart/2005/8/layout/target3"/>
    <dgm:cxn modelId="{D19C439A-8FEE-4315-A3A2-682512E16255}" type="presParOf" srcId="{F47B56F4-E8EA-47BE-9641-1936281C3385}" destId="{49156CC1-4316-4278-8CEF-4AC787FCE06A}" srcOrd="7" destOrd="0" presId="urn:microsoft.com/office/officeart/2005/8/layout/target3"/>
    <dgm:cxn modelId="{AE79690A-8029-4937-A522-DF80553BBDB4}" type="presParOf" srcId="{F47B56F4-E8EA-47BE-9641-1936281C3385}" destId="{039A6B55-D247-481E-B079-427345A889D5}" srcOrd="8" destOrd="0" presId="urn:microsoft.com/office/officeart/2005/8/layout/target3"/>
    <dgm:cxn modelId="{149C1A56-EFB5-40CB-87AE-BFC6F4846FDF}" type="presParOf" srcId="{F47B56F4-E8EA-47BE-9641-1936281C3385}" destId="{DEAB3DFD-FEAA-4ABE-B222-94C92237C897}" srcOrd="9" destOrd="0" presId="urn:microsoft.com/office/officeart/2005/8/layout/target3"/>
    <dgm:cxn modelId="{5DB4928D-0B22-4C47-AD92-994026130643}" type="presParOf" srcId="{F47B56F4-E8EA-47BE-9641-1936281C3385}" destId="{BECD5256-D636-446C-B5FE-6A37BB73EB67}" srcOrd="10" destOrd="0" presId="urn:microsoft.com/office/officeart/2005/8/layout/target3"/>
    <dgm:cxn modelId="{3E412875-6A94-4CFE-BD2C-F7AE4D293FEC}" type="presParOf" srcId="{F47B56F4-E8EA-47BE-9641-1936281C3385}" destId="{4914F23A-A444-4242-B2A7-9CA012AE34B8}" srcOrd="11" destOrd="0" presId="urn:microsoft.com/office/officeart/2005/8/layout/target3"/>
    <dgm:cxn modelId="{E35C7762-55BC-4473-94CD-7B054775A05C}" type="presParOf" srcId="{F47B56F4-E8EA-47BE-9641-1936281C3385}" destId="{6A5345A5-A76B-4BCF-92AC-A71579632611}" srcOrd="12" destOrd="0" presId="urn:microsoft.com/office/officeart/2005/8/layout/target3"/>
    <dgm:cxn modelId="{30E2A4BE-ACF1-4D94-84F4-12CC3108E38C}" type="presParOf" srcId="{F47B56F4-E8EA-47BE-9641-1936281C3385}" destId="{E0868841-CA79-48B0-8B24-06E20683B4DC}" srcOrd="13" destOrd="0" presId="urn:microsoft.com/office/officeart/2005/8/layout/target3"/>
    <dgm:cxn modelId="{4BF1CCF7-BDB1-48AA-B415-55CA92E3EA04}" type="presParOf" srcId="{F47B56F4-E8EA-47BE-9641-1936281C3385}" destId="{7561E617-5921-409C-AA7D-C655AB87F0E0}" srcOrd="14" destOrd="0" presId="urn:microsoft.com/office/officeart/2005/8/layout/target3"/>
    <dgm:cxn modelId="{CCF2F9A3-22BC-4150-BD54-0398C2E7CBCD}" type="presParOf" srcId="{F47B56F4-E8EA-47BE-9641-1936281C3385}" destId="{4A11FD6C-291E-4C7E-BD4C-D721A5D23244}" srcOrd="15" destOrd="0" presId="urn:microsoft.com/office/officeart/2005/8/layout/target3"/>
    <dgm:cxn modelId="{97D8EDA4-229C-4944-9D62-C426035ACE8C}" type="presParOf" srcId="{F47B56F4-E8EA-47BE-9641-1936281C3385}" destId="{B0FA4860-1BB8-4976-BFE5-0D9011C9B1F9}" srcOrd="16" destOrd="0" presId="urn:microsoft.com/office/officeart/2005/8/layout/target3"/>
    <dgm:cxn modelId="{BC8EC850-3CD6-4EAD-9D3B-A521E58AADF1}" type="presParOf" srcId="{F47B56F4-E8EA-47BE-9641-1936281C3385}" destId="{4133E269-082B-40CA-BDEE-0073C65D10D8}" srcOrd="17" destOrd="0" presId="urn:microsoft.com/office/officeart/2005/8/layout/target3"/>
    <dgm:cxn modelId="{5BE19B2F-0CDF-4A40-BF06-2727C85F3C3C}" type="presParOf" srcId="{F47B56F4-E8EA-47BE-9641-1936281C3385}" destId="{F9A5970F-448C-4C38-8B9C-0A409812C674}" srcOrd="18" destOrd="0" presId="urn:microsoft.com/office/officeart/2005/8/layout/target3"/>
    <dgm:cxn modelId="{20FF48BA-F138-4A63-ADB9-3797EA8E8482}" type="presParOf" srcId="{F47B56F4-E8EA-47BE-9641-1936281C3385}" destId="{C7047BA2-2019-4E65-A76B-4EE5B1055C58}" srcOrd="19"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6A993D06-AA99-4F3D-B309-9798F18CDE0C}" type="doc">
      <dgm:prSet loTypeId="urn:microsoft.com/office/officeart/2009/3/layout/StepUpProcess" loCatId="process" qsTypeId="urn:microsoft.com/office/officeart/2005/8/quickstyle/simple1" qsCatId="simple" csTypeId="urn:microsoft.com/office/officeart/2005/8/colors/colorful1" csCatId="colorful" phldr="1"/>
      <dgm:spPr/>
      <dgm:t>
        <a:bodyPr/>
        <a:lstStyle/>
        <a:p>
          <a:endParaRPr lang="en-US"/>
        </a:p>
      </dgm:t>
    </dgm:pt>
    <dgm:pt modelId="{602704CB-89C9-4D28-9876-EC4325B8CC4C}">
      <dgm:prSet phldrT="[Text]"/>
      <dgm:spPr/>
      <dgm:t>
        <a:bodyPr/>
        <a:lstStyle/>
        <a:p>
          <a:r>
            <a:rPr lang="en-US" dirty="0"/>
            <a:t>Exploration</a:t>
          </a:r>
        </a:p>
      </dgm:t>
    </dgm:pt>
    <dgm:pt modelId="{BE9354C2-3BF1-4D07-9E24-3ADF61646F03}" type="parTrans" cxnId="{A84DC32A-CBF0-48B5-B6D8-57A203FDC8D0}">
      <dgm:prSet/>
      <dgm:spPr/>
      <dgm:t>
        <a:bodyPr/>
        <a:lstStyle/>
        <a:p>
          <a:endParaRPr lang="en-US"/>
        </a:p>
      </dgm:t>
    </dgm:pt>
    <dgm:pt modelId="{6F31C978-BF01-4475-A060-88428C032AC5}" type="sibTrans" cxnId="{A84DC32A-CBF0-48B5-B6D8-57A203FDC8D0}">
      <dgm:prSet/>
      <dgm:spPr/>
      <dgm:t>
        <a:bodyPr/>
        <a:lstStyle/>
        <a:p>
          <a:endParaRPr lang="en-US"/>
        </a:p>
      </dgm:t>
    </dgm:pt>
    <dgm:pt modelId="{141DAF27-9884-45C0-9A7F-F595B3DD1F34}">
      <dgm:prSet phldrT="[Text]"/>
      <dgm:spPr/>
      <dgm:t>
        <a:bodyPr/>
        <a:lstStyle/>
        <a:p>
          <a:r>
            <a:rPr lang="en-US" dirty="0"/>
            <a:t>Promotion</a:t>
          </a:r>
        </a:p>
      </dgm:t>
    </dgm:pt>
    <dgm:pt modelId="{3C19FDC2-6D75-48C0-BE59-CE9093549B71}" type="parTrans" cxnId="{BC876931-F46E-435B-9E6F-D1445CB855AE}">
      <dgm:prSet/>
      <dgm:spPr/>
      <dgm:t>
        <a:bodyPr/>
        <a:lstStyle/>
        <a:p>
          <a:endParaRPr lang="en-US"/>
        </a:p>
      </dgm:t>
    </dgm:pt>
    <dgm:pt modelId="{59D3B008-4701-45F3-9A18-D8A8280474F1}" type="sibTrans" cxnId="{BC876931-F46E-435B-9E6F-D1445CB855AE}">
      <dgm:prSet/>
      <dgm:spPr/>
      <dgm:t>
        <a:bodyPr/>
        <a:lstStyle/>
        <a:p>
          <a:endParaRPr lang="en-US"/>
        </a:p>
      </dgm:t>
    </dgm:pt>
    <dgm:pt modelId="{7C9BBA7F-69BB-4688-B9F5-C424675DADDA}">
      <dgm:prSet phldrT="[Text]"/>
      <dgm:spPr/>
      <dgm:t>
        <a:bodyPr/>
        <a:lstStyle/>
        <a:p>
          <a:r>
            <a:rPr lang="en-US"/>
            <a:t>Preparation</a:t>
          </a:r>
          <a:endParaRPr lang="en-US" dirty="0"/>
        </a:p>
      </dgm:t>
    </dgm:pt>
    <dgm:pt modelId="{9ADE456D-12C4-43E7-9AD8-8DED8C3E6AF8}" type="parTrans" cxnId="{2EB8A2DC-2816-4888-98E9-63B31CC67BB8}">
      <dgm:prSet/>
      <dgm:spPr/>
      <dgm:t>
        <a:bodyPr/>
        <a:lstStyle/>
        <a:p>
          <a:endParaRPr lang="en-US"/>
        </a:p>
      </dgm:t>
    </dgm:pt>
    <dgm:pt modelId="{0F569CE6-76AB-48E8-BFCA-646B74A41ACF}" type="sibTrans" cxnId="{2EB8A2DC-2816-4888-98E9-63B31CC67BB8}">
      <dgm:prSet/>
      <dgm:spPr/>
      <dgm:t>
        <a:bodyPr/>
        <a:lstStyle/>
        <a:p>
          <a:endParaRPr lang="en-US"/>
        </a:p>
      </dgm:t>
    </dgm:pt>
    <dgm:pt modelId="{5F815A55-7FC3-4FA3-ABF3-2D4390A8360E}">
      <dgm:prSet phldrT="[Text]"/>
      <dgm:spPr/>
      <dgm:t>
        <a:bodyPr/>
        <a:lstStyle/>
        <a:p>
          <a:r>
            <a:rPr lang="en-US" dirty="0"/>
            <a:t>Operationalization</a:t>
          </a:r>
        </a:p>
      </dgm:t>
    </dgm:pt>
    <dgm:pt modelId="{33CD8727-4C15-4604-A51A-27CD4DA6E884}" type="parTrans" cxnId="{B13F8005-673E-4103-8CC7-8240A910B5F3}">
      <dgm:prSet/>
      <dgm:spPr/>
      <dgm:t>
        <a:bodyPr/>
        <a:lstStyle/>
        <a:p>
          <a:endParaRPr lang="en-US"/>
        </a:p>
      </dgm:t>
    </dgm:pt>
    <dgm:pt modelId="{1A51ABF6-8AA8-4B9E-8E13-6A181908A140}" type="sibTrans" cxnId="{B13F8005-673E-4103-8CC7-8240A910B5F3}">
      <dgm:prSet/>
      <dgm:spPr/>
      <dgm:t>
        <a:bodyPr/>
        <a:lstStyle/>
        <a:p>
          <a:endParaRPr lang="en-US"/>
        </a:p>
      </dgm:t>
    </dgm:pt>
    <dgm:pt modelId="{4A234FAF-730A-4DCE-9F8A-FBAEAEE366E0}">
      <dgm:prSet phldrT="[Text]"/>
      <dgm:spPr/>
      <dgm:t>
        <a:bodyPr/>
        <a:lstStyle/>
        <a:p>
          <a:r>
            <a:rPr lang="en-US" dirty="0"/>
            <a:t>Gateway</a:t>
          </a:r>
        </a:p>
      </dgm:t>
    </dgm:pt>
    <dgm:pt modelId="{F095E743-148D-425C-AD4B-EB7D2605FA6A}" type="parTrans" cxnId="{1F15F903-14E4-46F9-B74C-27900464EF21}">
      <dgm:prSet/>
      <dgm:spPr/>
      <dgm:t>
        <a:bodyPr/>
        <a:lstStyle/>
        <a:p>
          <a:endParaRPr lang="en-US"/>
        </a:p>
      </dgm:t>
    </dgm:pt>
    <dgm:pt modelId="{FE4330DB-B572-4DDD-B340-33DD82963E7B}" type="sibTrans" cxnId="{1F15F903-14E4-46F9-B74C-27900464EF21}">
      <dgm:prSet/>
      <dgm:spPr/>
      <dgm:t>
        <a:bodyPr/>
        <a:lstStyle/>
        <a:p>
          <a:endParaRPr lang="en-US"/>
        </a:p>
      </dgm:t>
    </dgm:pt>
    <dgm:pt modelId="{46A13AB2-7A6A-4D92-949C-96598476F708}">
      <dgm:prSet phldrT="[Text]"/>
      <dgm:spPr/>
      <dgm:t>
        <a:bodyPr/>
        <a:lstStyle/>
        <a:p>
          <a:r>
            <a:rPr lang="en-US" dirty="0"/>
            <a:t>Data sources</a:t>
          </a:r>
        </a:p>
      </dgm:t>
    </dgm:pt>
    <dgm:pt modelId="{249854D0-FDAD-43E7-B549-E4F6D73FDC42}" type="parTrans" cxnId="{C8176903-0DCE-4EB3-93BF-013991D79010}">
      <dgm:prSet/>
      <dgm:spPr/>
      <dgm:t>
        <a:bodyPr/>
        <a:lstStyle/>
        <a:p>
          <a:endParaRPr lang="en-US"/>
        </a:p>
      </dgm:t>
    </dgm:pt>
    <dgm:pt modelId="{E64968A1-2330-40E0-8AC1-55B6B12AFDD5}" type="sibTrans" cxnId="{C8176903-0DCE-4EB3-93BF-013991D79010}">
      <dgm:prSet/>
      <dgm:spPr/>
      <dgm:t>
        <a:bodyPr/>
        <a:lstStyle/>
        <a:p>
          <a:endParaRPr lang="en-US"/>
        </a:p>
      </dgm:t>
    </dgm:pt>
    <dgm:pt modelId="{D3C7E271-0B35-4572-A4B6-D834F3C461B8}">
      <dgm:prSet phldrT="[Text]"/>
      <dgm:spPr/>
      <dgm:t>
        <a:bodyPr/>
        <a:lstStyle/>
        <a:p>
          <a:r>
            <a:rPr lang="en-US" dirty="0"/>
            <a:t>Prod workspace</a:t>
          </a:r>
        </a:p>
      </dgm:t>
    </dgm:pt>
    <dgm:pt modelId="{AFD7C7E1-87D5-4713-84FC-7E021BEAC1D7}" type="parTrans" cxnId="{F24C8C72-331C-46AD-B34C-50E6BC5551E2}">
      <dgm:prSet/>
      <dgm:spPr/>
      <dgm:t>
        <a:bodyPr/>
        <a:lstStyle/>
        <a:p>
          <a:endParaRPr lang="en-US"/>
        </a:p>
      </dgm:t>
    </dgm:pt>
    <dgm:pt modelId="{81ADA548-D70B-4DCC-A838-EEB773026924}" type="sibTrans" cxnId="{F24C8C72-331C-46AD-B34C-50E6BC5551E2}">
      <dgm:prSet/>
      <dgm:spPr/>
      <dgm:t>
        <a:bodyPr/>
        <a:lstStyle/>
        <a:p>
          <a:endParaRPr lang="en-US"/>
        </a:p>
      </dgm:t>
    </dgm:pt>
    <dgm:pt modelId="{BF97630A-959B-4336-BC08-0D06E06062F2}">
      <dgm:prSet phldrT="[Text]"/>
      <dgm:spPr/>
      <dgm:t>
        <a:bodyPr/>
        <a:lstStyle/>
        <a:p>
          <a:r>
            <a:rPr lang="en-US" dirty="0"/>
            <a:t>Work with SSBI</a:t>
          </a:r>
        </a:p>
      </dgm:t>
    </dgm:pt>
    <dgm:pt modelId="{5908BA9F-E107-4582-98FF-2FD94CFFD919}" type="sibTrans" cxnId="{512B6542-1ACA-464F-81D4-0BC90C246C38}">
      <dgm:prSet/>
      <dgm:spPr/>
      <dgm:t>
        <a:bodyPr/>
        <a:lstStyle/>
        <a:p>
          <a:endParaRPr lang="en-US"/>
        </a:p>
      </dgm:t>
    </dgm:pt>
    <dgm:pt modelId="{51EAAD93-C15C-4BB5-BDEB-E98FB3CB21B6}" type="parTrans" cxnId="{512B6542-1ACA-464F-81D4-0BC90C246C38}">
      <dgm:prSet/>
      <dgm:spPr/>
      <dgm:t>
        <a:bodyPr/>
        <a:lstStyle/>
        <a:p>
          <a:endParaRPr lang="en-US"/>
        </a:p>
      </dgm:t>
    </dgm:pt>
    <dgm:pt modelId="{CAEF5DFA-3003-4F05-9DFB-992B2619C8C0}">
      <dgm:prSet phldrT="[Text]"/>
      <dgm:spPr/>
      <dgm:t>
        <a:bodyPr/>
        <a:lstStyle/>
        <a:p>
          <a:r>
            <a:rPr lang="en-US" dirty="0"/>
            <a:t>Documentation</a:t>
          </a:r>
        </a:p>
      </dgm:t>
    </dgm:pt>
    <dgm:pt modelId="{6B8FF51A-9C27-4AB3-B231-E9073BF05E82}" type="parTrans" cxnId="{94FAB125-6FEA-4298-A0DF-D064124B53EF}">
      <dgm:prSet/>
      <dgm:spPr/>
      <dgm:t>
        <a:bodyPr/>
        <a:lstStyle/>
        <a:p>
          <a:endParaRPr lang="en-US"/>
        </a:p>
      </dgm:t>
    </dgm:pt>
    <dgm:pt modelId="{2FF9D6D9-F054-4CEB-838A-D7730786A1A4}" type="sibTrans" cxnId="{94FAB125-6FEA-4298-A0DF-D064124B53EF}">
      <dgm:prSet/>
      <dgm:spPr/>
      <dgm:t>
        <a:bodyPr/>
        <a:lstStyle/>
        <a:p>
          <a:endParaRPr lang="en-US"/>
        </a:p>
      </dgm:t>
    </dgm:pt>
    <dgm:pt modelId="{AF5BF1F0-F94A-41C2-9A93-C45EC72532A9}">
      <dgm:prSet phldrT="[Text]"/>
      <dgm:spPr/>
      <dgm:t>
        <a:bodyPr/>
        <a:lstStyle/>
        <a:p>
          <a:r>
            <a:rPr lang="en-US" dirty="0"/>
            <a:t>Ownership</a:t>
          </a:r>
        </a:p>
      </dgm:t>
    </dgm:pt>
    <dgm:pt modelId="{A7F2B521-57F1-4D35-8E19-0393551A46C4}" type="parTrans" cxnId="{7B01A666-D0D2-4E51-8A48-72A3E3FA833A}">
      <dgm:prSet/>
      <dgm:spPr/>
      <dgm:t>
        <a:bodyPr/>
        <a:lstStyle/>
        <a:p>
          <a:endParaRPr lang="en-US"/>
        </a:p>
      </dgm:t>
    </dgm:pt>
    <dgm:pt modelId="{C458BD2E-4E12-44BF-A375-B78F28640BD3}" type="sibTrans" cxnId="{7B01A666-D0D2-4E51-8A48-72A3E3FA833A}">
      <dgm:prSet/>
      <dgm:spPr/>
      <dgm:t>
        <a:bodyPr/>
        <a:lstStyle/>
        <a:p>
          <a:endParaRPr lang="en-US"/>
        </a:p>
      </dgm:t>
    </dgm:pt>
    <dgm:pt modelId="{662F15CC-E95F-46B7-B190-8E452DCA2F60}">
      <dgm:prSet phldrT="[Text]"/>
      <dgm:spPr/>
      <dgm:t>
        <a:bodyPr/>
        <a:lstStyle/>
        <a:p>
          <a:r>
            <a:rPr lang="en-US" dirty="0"/>
            <a:t>Full support</a:t>
          </a:r>
        </a:p>
      </dgm:t>
    </dgm:pt>
    <dgm:pt modelId="{F69BDF01-D7F2-4F8B-BFC2-91ACDC9A2604}" type="parTrans" cxnId="{DC562DB4-D714-4C28-B7B1-B65EB6EE575C}">
      <dgm:prSet/>
      <dgm:spPr/>
      <dgm:t>
        <a:bodyPr/>
        <a:lstStyle/>
        <a:p>
          <a:endParaRPr lang="en-US"/>
        </a:p>
      </dgm:t>
    </dgm:pt>
    <dgm:pt modelId="{F082243F-C7EA-4CC3-BB38-0BC8212E7838}" type="sibTrans" cxnId="{DC562DB4-D714-4C28-B7B1-B65EB6EE575C}">
      <dgm:prSet/>
      <dgm:spPr/>
      <dgm:t>
        <a:bodyPr/>
        <a:lstStyle/>
        <a:p>
          <a:endParaRPr lang="en-US"/>
        </a:p>
      </dgm:t>
    </dgm:pt>
    <dgm:pt modelId="{D5CBDB21-A270-496E-9352-721A4C3E1A2F}">
      <dgm:prSet phldrT="[Text]"/>
      <dgm:spPr/>
      <dgm:t>
        <a:bodyPr/>
        <a:lstStyle/>
        <a:p>
          <a:r>
            <a:rPr lang="en-US" dirty="0"/>
            <a:t>Prove out ideas</a:t>
          </a:r>
        </a:p>
      </dgm:t>
    </dgm:pt>
    <dgm:pt modelId="{343A2B8D-59BA-4F99-9FEC-CA5CA819A958}" type="parTrans" cxnId="{EBAAB863-81C5-4498-A347-0433811CF18A}">
      <dgm:prSet/>
      <dgm:spPr/>
      <dgm:t>
        <a:bodyPr/>
        <a:lstStyle/>
        <a:p>
          <a:endParaRPr lang="en-US"/>
        </a:p>
      </dgm:t>
    </dgm:pt>
    <dgm:pt modelId="{8443B1C1-1272-4C37-98CA-BDF354EAE9E1}" type="sibTrans" cxnId="{EBAAB863-81C5-4498-A347-0433811CF18A}">
      <dgm:prSet/>
      <dgm:spPr/>
      <dgm:t>
        <a:bodyPr/>
        <a:lstStyle/>
        <a:p>
          <a:endParaRPr lang="en-US"/>
        </a:p>
      </dgm:t>
    </dgm:pt>
    <dgm:pt modelId="{BAB3D24F-528C-4FD4-B5F6-3A54DFFD6F08}">
      <dgm:prSet phldrT="[Text]"/>
      <dgm:spPr/>
      <dgm:t>
        <a:bodyPr/>
        <a:lstStyle/>
        <a:p>
          <a:r>
            <a:rPr lang="en-US" dirty="0"/>
            <a:t>Desktop or Excel</a:t>
          </a:r>
        </a:p>
      </dgm:t>
    </dgm:pt>
    <dgm:pt modelId="{FD6C66E6-9741-4019-9CBB-C453A0C15D99}" type="parTrans" cxnId="{58E89B8C-8E3A-4E0C-85E7-7BD9633CFA05}">
      <dgm:prSet/>
      <dgm:spPr/>
      <dgm:t>
        <a:bodyPr/>
        <a:lstStyle/>
        <a:p>
          <a:endParaRPr lang="en-US"/>
        </a:p>
      </dgm:t>
    </dgm:pt>
    <dgm:pt modelId="{9FE1ABE5-DD2E-4A95-ADA8-A89F90DB2059}" type="sibTrans" cxnId="{58E89B8C-8E3A-4E0C-85E7-7BD9633CFA05}">
      <dgm:prSet/>
      <dgm:spPr/>
      <dgm:t>
        <a:bodyPr/>
        <a:lstStyle/>
        <a:p>
          <a:endParaRPr lang="en-US"/>
        </a:p>
      </dgm:t>
    </dgm:pt>
    <dgm:pt modelId="{90E77209-D6B4-40A7-AE94-BBB825C63FA7}">
      <dgm:prSet phldrT="[Text]"/>
      <dgm:spPr/>
      <dgm:t>
        <a:bodyPr/>
        <a:lstStyle/>
        <a:p>
          <a:r>
            <a:rPr lang="en-US" dirty="0"/>
            <a:t>Scheduled refresh</a:t>
          </a:r>
        </a:p>
      </dgm:t>
    </dgm:pt>
    <dgm:pt modelId="{0B4C1210-A9CA-46D8-9F0F-353CAAB15F4D}" type="parTrans" cxnId="{9480D411-F632-40E4-97ED-C5F8C91152D7}">
      <dgm:prSet/>
      <dgm:spPr/>
      <dgm:t>
        <a:bodyPr/>
        <a:lstStyle/>
        <a:p>
          <a:endParaRPr lang="en-US"/>
        </a:p>
      </dgm:t>
    </dgm:pt>
    <dgm:pt modelId="{3C10C280-8642-4949-B322-EA523ADA0286}" type="sibTrans" cxnId="{9480D411-F632-40E4-97ED-C5F8C91152D7}">
      <dgm:prSet/>
      <dgm:spPr/>
      <dgm:t>
        <a:bodyPr/>
        <a:lstStyle/>
        <a:p>
          <a:endParaRPr lang="en-US"/>
        </a:p>
      </dgm:t>
    </dgm:pt>
    <dgm:pt modelId="{157CB20B-DEB2-40B6-931D-D6E4294F47CA}">
      <dgm:prSet phldrT="[Text]"/>
      <dgm:spPr/>
      <dgm:t>
        <a:bodyPr/>
        <a:lstStyle/>
        <a:p>
          <a:r>
            <a:rPr lang="en-US" dirty="0"/>
            <a:t>Theme</a:t>
          </a:r>
        </a:p>
      </dgm:t>
    </dgm:pt>
    <dgm:pt modelId="{89C6E239-D77E-493D-9AFE-4C2CFA32FA9A}" type="parTrans" cxnId="{81487DF4-62EA-4412-BF55-30156BF28D61}">
      <dgm:prSet/>
      <dgm:spPr/>
      <dgm:t>
        <a:bodyPr/>
        <a:lstStyle/>
        <a:p>
          <a:endParaRPr lang="en-US"/>
        </a:p>
      </dgm:t>
    </dgm:pt>
    <dgm:pt modelId="{12EFADC2-9668-4158-8E5B-026A93BDD0B0}" type="sibTrans" cxnId="{81487DF4-62EA-4412-BF55-30156BF28D61}">
      <dgm:prSet/>
      <dgm:spPr/>
      <dgm:t>
        <a:bodyPr/>
        <a:lstStyle/>
        <a:p>
          <a:endParaRPr lang="en-US"/>
        </a:p>
      </dgm:t>
    </dgm:pt>
    <dgm:pt modelId="{E502987D-0C62-4775-84F2-9C971D67E76B}">
      <dgm:prSet phldrT="[Text]"/>
      <dgm:spPr/>
      <dgm:t>
        <a:bodyPr/>
        <a:lstStyle/>
        <a:p>
          <a:r>
            <a:rPr lang="en-US" dirty="0"/>
            <a:t>SLA</a:t>
          </a:r>
        </a:p>
      </dgm:t>
    </dgm:pt>
    <dgm:pt modelId="{284AF138-94E4-46AB-83F9-C13D76D39042}" type="parTrans" cxnId="{D8C21D1D-62A6-4DD6-BAD0-8EF1EC9C8E99}">
      <dgm:prSet/>
      <dgm:spPr/>
      <dgm:t>
        <a:bodyPr/>
        <a:lstStyle/>
        <a:p>
          <a:endParaRPr lang="en-US"/>
        </a:p>
      </dgm:t>
    </dgm:pt>
    <dgm:pt modelId="{2FE46425-A3E2-4982-9043-559A4FFC49F8}" type="sibTrans" cxnId="{D8C21D1D-62A6-4DD6-BAD0-8EF1EC9C8E99}">
      <dgm:prSet/>
      <dgm:spPr/>
      <dgm:t>
        <a:bodyPr/>
        <a:lstStyle/>
        <a:p>
          <a:endParaRPr lang="en-US"/>
        </a:p>
      </dgm:t>
    </dgm:pt>
    <dgm:pt modelId="{C09D8D3F-2F64-46B8-A9AE-F06068D50FAD}" type="pres">
      <dgm:prSet presAssocID="{6A993D06-AA99-4F3D-B309-9798F18CDE0C}" presName="rootnode" presStyleCnt="0">
        <dgm:presLayoutVars>
          <dgm:chMax/>
          <dgm:chPref/>
          <dgm:dir/>
          <dgm:animLvl val="lvl"/>
        </dgm:presLayoutVars>
      </dgm:prSet>
      <dgm:spPr/>
    </dgm:pt>
    <dgm:pt modelId="{5AFE32D8-3E6F-4BB1-BC44-8C0FFC77B432}" type="pres">
      <dgm:prSet presAssocID="{602704CB-89C9-4D28-9876-EC4325B8CC4C}" presName="composite" presStyleCnt="0"/>
      <dgm:spPr/>
    </dgm:pt>
    <dgm:pt modelId="{9B98BC4B-E7B1-4268-9495-5D73CC9C3051}" type="pres">
      <dgm:prSet presAssocID="{602704CB-89C9-4D28-9876-EC4325B8CC4C}" presName="LShape" presStyleLbl="alignNode1" presStyleIdx="0" presStyleCnt="7"/>
      <dgm:spPr/>
    </dgm:pt>
    <dgm:pt modelId="{504845A6-302F-43F6-9CB3-AF9747308E3F}" type="pres">
      <dgm:prSet presAssocID="{602704CB-89C9-4D28-9876-EC4325B8CC4C}" presName="ParentText" presStyleLbl="revTx" presStyleIdx="0" presStyleCnt="4">
        <dgm:presLayoutVars>
          <dgm:chMax val="0"/>
          <dgm:chPref val="0"/>
          <dgm:bulletEnabled val="1"/>
        </dgm:presLayoutVars>
      </dgm:prSet>
      <dgm:spPr/>
    </dgm:pt>
    <dgm:pt modelId="{7892D8E5-7831-49CA-80E3-16F27E5F78B1}" type="pres">
      <dgm:prSet presAssocID="{602704CB-89C9-4D28-9876-EC4325B8CC4C}" presName="Triangle" presStyleLbl="alignNode1" presStyleIdx="1" presStyleCnt="7"/>
      <dgm:spPr/>
    </dgm:pt>
    <dgm:pt modelId="{82A78625-0B45-43DA-A862-56951F08A8EA}" type="pres">
      <dgm:prSet presAssocID="{6F31C978-BF01-4475-A060-88428C032AC5}" presName="sibTrans" presStyleCnt="0"/>
      <dgm:spPr/>
    </dgm:pt>
    <dgm:pt modelId="{E39F83A5-74F9-471B-865F-3503041B2D25}" type="pres">
      <dgm:prSet presAssocID="{6F31C978-BF01-4475-A060-88428C032AC5}" presName="space" presStyleCnt="0"/>
      <dgm:spPr/>
    </dgm:pt>
    <dgm:pt modelId="{FD9F62B4-88A3-4D7C-8303-F28ECA6485FA}" type="pres">
      <dgm:prSet presAssocID="{141DAF27-9884-45C0-9A7F-F595B3DD1F34}" presName="composite" presStyleCnt="0"/>
      <dgm:spPr/>
    </dgm:pt>
    <dgm:pt modelId="{1EC21D07-3AE2-445D-8679-AAE5514D3CAC}" type="pres">
      <dgm:prSet presAssocID="{141DAF27-9884-45C0-9A7F-F595B3DD1F34}" presName="LShape" presStyleLbl="alignNode1" presStyleIdx="2" presStyleCnt="7"/>
      <dgm:spPr/>
    </dgm:pt>
    <dgm:pt modelId="{EFEDE421-90FB-41C5-B5BF-EDC1A5D9C31C}" type="pres">
      <dgm:prSet presAssocID="{141DAF27-9884-45C0-9A7F-F595B3DD1F34}" presName="ParentText" presStyleLbl="revTx" presStyleIdx="1" presStyleCnt="4">
        <dgm:presLayoutVars>
          <dgm:chMax val="0"/>
          <dgm:chPref val="0"/>
          <dgm:bulletEnabled val="1"/>
        </dgm:presLayoutVars>
      </dgm:prSet>
      <dgm:spPr/>
    </dgm:pt>
    <dgm:pt modelId="{186E60F8-3613-42A3-8D7D-987F6AB990A6}" type="pres">
      <dgm:prSet presAssocID="{141DAF27-9884-45C0-9A7F-F595B3DD1F34}" presName="Triangle" presStyleLbl="alignNode1" presStyleIdx="3" presStyleCnt="7"/>
      <dgm:spPr/>
    </dgm:pt>
    <dgm:pt modelId="{DB92C1C8-8A8F-4F0A-B224-3CD491920E25}" type="pres">
      <dgm:prSet presAssocID="{59D3B008-4701-45F3-9A18-D8A8280474F1}" presName="sibTrans" presStyleCnt="0"/>
      <dgm:spPr/>
    </dgm:pt>
    <dgm:pt modelId="{8E4FF814-55AD-42B6-9AC2-E83FFFF1DBD5}" type="pres">
      <dgm:prSet presAssocID="{59D3B008-4701-45F3-9A18-D8A8280474F1}" presName="space" presStyleCnt="0"/>
      <dgm:spPr/>
    </dgm:pt>
    <dgm:pt modelId="{709D3B69-C9AE-4410-B12F-A43B5574F6B1}" type="pres">
      <dgm:prSet presAssocID="{7C9BBA7F-69BB-4688-B9F5-C424675DADDA}" presName="composite" presStyleCnt="0"/>
      <dgm:spPr/>
    </dgm:pt>
    <dgm:pt modelId="{F5DBA1AA-898E-443B-B181-2F96741E6C15}" type="pres">
      <dgm:prSet presAssocID="{7C9BBA7F-69BB-4688-B9F5-C424675DADDA}" presName="LShape" presStyleLbl="alignNode1" presStyleIdx="4" presStyleCnt="7"/>
      <dgm:spPr/>
    </dgm:pt>
    <dgm:pt modelId="{FBF030BD-263B-4E98-916E-530C9C7BE1F9}" type="pres">
      <dgm:prSet presAssocID="{7C9BBA7F-69BB-4688-B9F5-C424675DADDA}" presName="ParentText" presStyleLbl="revTx" presStyleIdx="2" presStyleCnt="4">
        <dgm:presLayoutVars>
          <dgm:chMax val="0"/>
          <dgm:chPref val="0"/>
          <dgm:bulletEnabled val="1"/>
        </dgm:presLayoutVars>
      </dgm:prSet>
      <dgm:spPr/>
    </dgm:pt>
    <dgm:pt modelId="{4A235F80-B814-470E-8989-4207188E13E9}" type="pres">
      <dgm:prSet presAssocID="{7C9BBA7F-69BB-4688-B9F5-C424675DADDA}" presName="Triangle" presStyleLbl="alignNode1" presStyleIdx="5" presStyleCnt="7"/>
      <dgm:spPr/>
    </dgm:pt>
    <dgm:pt modelId="{63715E73-DC28-475D-B1EF-8F14E205150A}" type="pres">
      <dgm:prSet presAssocID="{0F569CE6-76AB-48E8-BFCA-646B74A41ACF}" presName="sibTrans" presStyleCnt="0"/>
      <dgm:spPr/>
    </dgm:pt>
    <dgm:pt modelId="{2A58E278-1766-430D-AC6A-0A7C5F0B4D90}" type="pres">
      <dgm:prSet presAssocID="{0F569CE6-76AB-48E8-BFCA-646B74A41ACF}" presName="space" presStyleCnt="0"/>
      <dgm:spPr/>
    </dgm:pt>
    <dgm:pt modelId="{9F54CD51-4043-4B53-A6F5-52BC626926B1}" type="pres">
      <dgm:prSet presAssocID="{5F815A55-7FC3-4FA3-ABF3-2D4390A8360E}" presName="composite" presStyleCnt="0"/>
      <dgm:spPr/>
    </dgm:pt>
    <dgm:pt modelId="{090BB8F0-AA1B-4AE3-A053-53E3B9E68528}" type="pres">
      <dgm:prSet presAssocID="{5F815A55-7FC3-4FA3-ABF3-2D4390A8360E}" presName="LShape" presStyleLbl="alignNode1" presStyleIdx="6" presStyleCnt="7"/>
      <dgm:spPr/>
    </dgm:pt>
    <dgm:pt modelId="{669F8A5C-6F87-4A8F-9088-B91AF7F36E87}" type="pres">
      <dgm:prSet presAssocID="{5F815A55-7FC3-4FA3-ABF3-2D4390A8360E}" presName="ParentText" presStyleLbl="revTx" presStyleIdx="3" presStyleCnt="4">
        <dgm:presLayoutVars>
          <dgm:chMax val="0"/>
          <dgm:chPref val="0"/>
          <dgm:bulletEnabled val="1"/>
        </dgm:presLayoutVars>
      </dgm:prSet>
      <dgm:spPr/>
    </dgm:pt>
  </dgm:ptLst>
  <dgm:cxnLst>
    <dgm:cxn modelId="{3DCF1502-27F3-4BB7-AFD3-889A3AAAC0E9}" type="presOf" srcId="{D3C7E271-0B35-4572-A4B6-D834F3C461B8}" destId="{669F8A5C-6F87-4A8F-9088-B91AF7F36E87}" srcOrd="0" destOrd="1" presId="urn:microsoft.com/office/officeart/2009/3/layout/StepUpProcess"/>
    <dgm:cxn modelId="{C8176903-0DCE-4EB3-93BF-013991D79010}" srcId="{7C9BBA7F-69BB-4688-B9F5-C424675DADDA}" destId="{46A13AB2-7A6A-4D92-949C-96598476F708}" srcOrd="0" destOrd="0" parTransId="{249854D0-FDAD-43E7-B549-E4F6D73FDC42}" sibTransId="{E64968A1-2330-40E0-8AC1-55B6B12AFDD5}"/>
    <dgm:cxn modelId="{1F15F903-14E4-46F9-B74C-27900464EF21}" srcId="{141DAF27-9884-45C0-9A7F-F595B3DD1F34}" destId="{4A234FAF-730A-4DCE-9F8A-FBAEAEE366E0}" srcOrd="0" destOrd="0" parTransId="{F095E743-148D-425C-AD4B-EB7D2605FA6A}" sibTransId="{FE4330DB-B572-4DDD-B340-33DD82963E7B}"/>
    <dgm:cxn modelId="{B13F8005-673E-4103-8CC7-8240A910B5F3}" srcId="{6A993D06-AA99-4F3D-B309-9798F18CDE0C}" destId="{5F815A55-7FC3-4FA3-ABF3-2D4390A8360E}" srcOrd="3" destOrd="0" parTransId="{33CD8727-4C15-4604-A51A-27CD4DA6E884}" sibTransId="{1A51ABF6-8AA8-4B9E-8E13-6A181908A140}"/>
    <dgm:cxn modelId="{9480D411-F632-40E4-97ED-C5F8C91152D7}" srcId="{141DAF27-9884-45C0-9A7F-F595B3DD1F34}" destId="{90E77209-D6B4-40A7-AE94-BBB825C63FA7}" srcOrd="1" destOrd="0" parTransId="{0B4C1210-A9CA-46D8-9F0F-353CAAB15F4D}" sibTransId="{3C10C280-8642-4949-B322-EA523ADA0286}"/>
    <dgm:cxn modelId="{D8C21D1D-62A6-4DD6-BAD0-8EF1EC9C8E99}" srcId="{5F815A55-7FC3-4FA3-ABF3-2D4390A8360E}" destId="{E502987D-0C62-4775-84F2-9C971D67E76B}" srcOrd="2" destOrd="0" parTransId="{284AF138-94E4-46AB-83F9-C13D76D39042}" sibTransId="{2FE46425-A3E2-4982-9043-559A4FFC49F8}"/>
    <dgm:cxn modelId="{ADB86124-3D31-4230-AB6A-51B35765E797}" type="presOf" srcId="{4A234FAF-730A-4DCE-9F8A-FBAEAEE366E0}" destId="{EFEDE421-90FB-41C5-B5BF-EDC1A5D9C31C}" srcOrd="0" destOrd="1" presId="urn:microsoft.com/office/officeart/2009/3/layout/StepUpProcess"/>
    <dgm:cxn modelId="{94FAB125-6FEA-4298-A0DF-D064124B53EF}" srcId="{7C9BBA7F-69BB-4688-B9F5-C424675DADDA}" destId="{CAEF5DFA-3003-4F05-9DFB-992B2619C8C0}" srcOrd="1" destOrd="0" parTransId="{6B8FF51A-9C27-4AB3-B231-E9073BF05E82}" sibTransId="{2FF9D6D9-F054-4CEB-838A-D7730786A1A4}"/>
    <dgm:cxn modelId="{53EBF628-AD87-4827-ADBB-E98AE6978429}" type="presOf" srcId="{BAB3D24F-528C-4FD4-B5F6-3A54DFFD6F08}" destId="{504845A6-302F-43F6-9CB3-AF9747308E3F}" srcOrd="0" destOrd="3" presId="urn:microsoft.com/office/officeart/2009/3/layout/StepUpProcess"/>
    <dgm:cxn modelId="{A84DC32A-CBF0-48B5-B6D8-57A203FDC8D0}" srcId="{6A993D06-AA99-4F3D-B309-9798F18CDE0C}" destId="{602704CB-89C9-4D28-9876-EC4325B8CC4C}" srcOrd="0" destOrd="0" parTransId="{BE9354C2-3BF1-4D07-9E24-3ADF61646F03}" sibTransId="{6F31C978-BF01-4475-A060-88428C032AC5}"/>
    <dgm:cxn modelId="{BC876931-F46E-435B-9E6F-D1445CB855AE}" srcId="{6A993D06-AA99-4F3D-B309-9798F18CDE0C}" destId="{141DAF27-9884-45C0-9A7F-F595B3DD1F34}" srcOrd="1" destOrd="0" parTransId="{3C19FDC2-6D75-48C0-BE59-CE9093549B71}" sibTransId="{59D3B008-4701-45F3-9A18-D8A8280474F1}"/>
    <dgm:cxn modelId="{3E1E6435-4667-4F71-8A3C-24B140F09CA1}" type="presOf" srcId="{7C9BBA7F-69BB-4688-B9F5-C424675DADDA}" destId="{FBF030BD-263B-4E98-916E-530C9C7BE1F9}" srcOrd="0" destOrd="0" presId="urn:microsoft.com/office/officeart/2009/3/layout/StepUpProcess"/>
    <dgm:cxn modelId="{A5D7783D-C5E0-4200-B404-D5D6F46D6F12}" type="presOf" srcId="{E502987D-0C62-4775-84F2-9C971D67E76B}" destId="{669F8A5C-6F87-4A8F-9088-B91AF7F36E87}" srcOrd="0" destOrd="3" presId="urn:microsoft.com/office/officeart/2009/3/layout/StepUpProcess"/>
    <dgm:cxn modelId="{AF0F8E60-D19C-459B-B197-865B2A4DCDF4}" type="presOf" srcId="{6A993D06-AA99-4F3D-B309-9798F18CDE0C}" destId="{C09D8D3F-2F64-46B8-A9AE-F06068D50FAD}" srcOrd="0" destOrd="0" presId="urn:microsoft.com/office/officeart/2009/3/layout/StepUpProcess"/>
    <dgm:cxn modelId="{512B6542-1ACA-464F-81D4-0BC90C246C38}" srcId="{602704CB-89C9-4D28-9876-EC4325B8CC4C}" destId="{BF97630A-959B-4336-BC08-0D06E06062F2}" srcOrd="0" destOrd="0" parTransId="{51EAAD93-C15C-4BB5-BDEB-E98FB3CB21B6}" sibTransId="{5908BA9F-E107-4582-98FF-2FD94CFFD919}"/>
    <dgm:cxn modelId="{EBAAB863-81C5-4498-A347-0433811CF18A}" srcId="{602704CB-89C9-4D28-9876-EC4325B8CC4C}" destId="{D5CBDB21-A270-496E-9352-721A4C3E1A2F}" srcOrd="1" destOrd="0" parTransId="{343A2B8D-59BA-4F99-9FEC-CA5CA819A958}" sibTransId="{8443B1C1-1272-4C37-98CA-BDF354EAE9E1}"/>
    <dgm:cxn modelId="{7B01A666-D0D2-4E51-8A48-72A3E3FA833A}" srcId="{7C9BBA7F-69BB-4688-B9F5-C424675DADDA}" destId="{AF5BF1F0-F94A-41C2-9A93-C45EC72532A9}" srcOrd="2" destOrd="0" parTransId="{A7F2B521-57F1-4D35-8E19-0393551A46C4}" sibTransId="{C458BD2E-4E12-44BF-A375-B78F28640BD3}"/>
    <dgm:cxn modelId="{30E2154A-25BE-416D-AFF5-321952DF096F}" type="presOf" srcId="{157CB20B-DEB2-40B6-931D-D6E4294F47CA}" destId="{EFEDE421-90FB-41C5-B5BF-EDC1A5D9C31C}" srcOrd="0" destOrd="3" presId="urn:microsoft.com/office/officeart/2009/3/layout/StepUpProcess"/>
    <dgm:cxn modelId="{1572AB6B-CE5D-4EF3-A615-5C45B9A2519A}" type="presOf" srcId="{5F815A55-7FC3-4FA3-ABF3-2D4390A8360E}" destId="{669F8A5C-6F87-4A8F-9088-B91AF7F36E87}" srcOrd="0" destOrd="0" presId="urn:microsoft.com/office/officeart/2009/3/layout/StepUpProcess"/>
    <dgm:cxn modelId="{F24C8C72-331C-46AD-B34C-50E6BC5551E2}" srcId="{5F815A55-7FC3-4FA3-ABF3-2D4390A8360E}" destId="{D3C7E271-0B35-4572-A4B6-D834F3C461B8}" srcOrd="0" destOrd="0" parTransId="{AFD7C7E1-87D5-4713-84FC-7E021BEAC1D7}" sibTransId="{81ADA548-D70B-4DCC-A838-EEB773026924}"/>
    <dgm:cxn modelId="{4E19AC7C-93CF-452F-9C4C-C50FED4C7326}" type="presOf" srcId="{602704CB-89C9-4D28-9876-EC4325B8CC4C}" destId="{504845A6-302F-43F6-9CB3-AF9747308E3F}" srcOrd="0" destOrd="0" presId="urn:microsoft.com/office/officeart/2009/3/layout/StepUpProcess"/>
    <dgm:cxn modelId="{20564285-8D6E-4209-9A50-0AC5FBD75AB4}" type="presOf" srcId="{662F15CC-E95F-46B7-B190-8E452DCA2F60}" destId="{669F8A5C-6F87-4A8F-9088-B91AF7F36E87}" srcOrd="0" destOrd="2" presId="urn:microsoft.com/office/officeart/2009/3/layout/StepUpProcess"/>
    <dgm:cxn modelId="{58E89B8C-8E3A-4E0C-85E7-7BD9633CFA05}" srcId="{602704CB-89C9-4D28-9876-EC4325B8CC4C}" destId="{BAB3D24F-528C-4FD4-B5F6-3A54DFFD6F08}" srcOrd="2" destOrd="0" parTransId="{FD6C66E6-9741-4019-9CBB-C453A0C15D99}" sibTransId="{9FE1ABE5-DD2E-4A95-ADA8-A89F90DB2059}"/>
    <dgm:cxn modelId="{F4994FB2-0CC9-4371-A8FA-F08C5B5858F9}" type="presOf" srcId="{46A13AB2-7A6A-4D92-949C-96598476F708}" destId="{FBF030BD-263B-4E98-916E-530C9C7BE1F9}" srcOrd="0" destOrd="1" presId="urn:microsoft.com/office/officeart/2009/3/layout/StepUpProcess"/>
    <dgm:cxn modelId="{DC562DB4-D714-4C28-B7B1-B65EB6EE575C}" srcId="{5F815A55-7FC3-4FA3-ABF3-2D4390A8360E}" destId="{662F15CC-E95F-46B7-B190-8E452DCA2F60}" srcOrd="1" destOrd="0" parTransId="{F69BDF01-D7F2-4F8B-BFC2-91ACDC9A2604}" sibTransId="{F082243F-C7EA-4CC3-BB38-0BC8212E7838}"/>
    <dgm:cxn modelId="{51333DB8-1BF6-464D-ABD9-53D5863D7665}" type="presOf" srcId="{AF5BF1F0-F94A-41C2-9A93-C45EC72532A9}" destId="{FBF030BD-263B-4E98-916E-530C9C7BE1F9}" srcOrd="0" destOrd="3" presId="urn:microsoft.com/office/officeart/2009/3/layout/StepUpProcess"/>
    <dgm:cxn modelId="{496B2EBE-17A2-4065-B4AD-7595AC404C0A}" type="presOf" srcId="{141DAF27-9884-45C0-9A7F-F595B3DD1F34}" destId="{EFEDE421-90FB-41C5-B5BF-EDC1A5D9C31C}" srcOrd="0" destOrd="0" presId="urn:microsoft.com/office/officeart/2009/3/layout/StepUpProcess"/>
    <dgm:cxn modelId="{E12B83CA-4D35-4836-A5AE-22C92ED502AE}" type="presOf" srcId="{BF97630A-959B-4336-BC08-0D06E06062F2}" destId="{504845A6-302F-43F6-9CB3-AF9747308E3F}" srcOrd="0" destOrd="1" presId="urn:microsoft.com/office/officeart/2009/3/layout/StepUpProcess"/>
    <dgm:cxn modelId="{F364A7CA-9005-44C0-97B4-509D6DA46731}" type="presOf" srcId="{CAEF5DFA-3003-4F05-9DFB-992B2619C8C0}" destId="{FBF030BD-263B-4E98-916E-530C9C7BE1F9}" srcOrd="0" destOrd="2" presId="urn:microsoft.com/office/officeart/2009/3/layout/StepUpProcess"/>
    <dgm:cxn modelId="{2EB8A2DC-2816-4888-98E9-63B31CC67BB8}" srcId="{6A993D06-AA99-4F3D-B309-9798F18CDE0C}" destId="{7C9BBA7F-69BB-4688-B9F5-C424675DADDA}" srcOrd="2" destOrd="0" parTransId="{9ADE456D-12C4-43E7-9AD8-8DED8C3E6AF8}" sibTransId="{0F569CE6-76AB-48E8-BFCA-646B74A41ACF}"/>
    <dgm:cxn modelId="{62DA4EE3-6919-41B2-83EA-9720306184D2}" type="presOf" srcId="{D5CBDB21-A270-496E-9352-721A4C3E1A2F}" destId="{504845A6-302F-43F6-9CB3-AF9747308E3F}" srcOrd="0" destOrd="2" presId="urn:microsoft.com/office/officeart/2009/3/layout/StepUpProcess"/>
    <dgm:cxn modelId="{81487DF4-62EA-4412-BF55-30156BF28D61}" srcId="{141DAF27-9884-45C0-9A7F-F595B3DD1F34}" destId="{157CB20B-DEB2-40B6-931D-D6E4294F47CA}" srcOrd="2" destOrd="0" parTransId="{89C6E239-D77E-493D-9AFE-4C2CFA32FA9A}" sibTransId="{12EFADC2-9668-4158-8E5B-026A93BDD0B0}"/>
    <dgm:cxn modelId="{9A4FBEF8-930D-4A55-A634-76AFB440C98D}" type="presOf" srcId="{90E77209-D6B4-40A7-AE94-BBB825C63FA7}" destId="{EFEDE421-90FB-41C5-B5BF-EDC1A5D9C31C}" srcOrd="0" destOrd="2" presId="urn:microsoft.com/office/officeart/2009/3/layout/StepUpProcess"/>
    <dgm:cxn modelId="{36F77DB4-1C0F-48B1-8CF6-CE378F026CB2}" type="presParOf" srcId="{C09D8D3F-2F64-46B8-A9AE-F06068D50FAD}" destId="{5AFE32D8-3E6F-4BB1-BC44-8C0FFC77B432}" srcOrd="0" destOrd="0" presId="urn:microsoft.com/office/officeart/2009/3/layout/StepUpProcess"/>
    <dgm:cxn modelId="{7AE41F4B-8996-4980-81D5-F2A3221298B5}" type="presParOf" srcId="{5AFE32D8-3E6F-4BB1-BC44-8C0FFC77B432}" destId="{9B98BC4B-E7B1-4268-9495-5D73CC9C3051}" srcOrd="0" destOrd="0" presId="urn:microsoft.com/office/officeart/2009/3/layout/StepUpProcess"/>
    <dgm:cxn modelId="{0219565A-7EBD-4443-AAB5-46FBB32E1CBC}" type="presParOf" srcId="{5AFE32D8-3E6F-4BB1-BC44-8C0FFC77B432}" destId="{504845A6-302F-43F6-9CB3-AF9747308E3F}" srcOrd="1" destOrd="0" presId="urn:microsoft.com/office/officeart/2009/3/layout/StepUpProcess"/>
    <dgm:cxn modelId="{966AA960-3B6F-4191-BCDD-57DC9489C490}" type="presParOf" srcId="{5AFE32D8-3E6F-4BB1-BC44-8C0FFC77B432}" destId="{7892D8E5-7831-49CA-80E3-16F27E5F78B1}" srcOrd="2" destOrd="0" presId="urn:microsoft.com/office/officeart/2009/3/layout/StepUpProcess"/>
    <dgm:cxn modelId="{83078EBA-15A2-4A87-9415-A16148241B34}" type="presParOf" srcId="{C09D8D3F-2F64-46B8-A9AE-F06068D50FAD}" destId="{82A78625-0B45-43DA-A862-56951F08A8EA}" srcOrd="1" destOrd="0" presId="urn:microsoft.com/office/officeart/2009/3/layout/StepUpProcess"/>
    <dgm:cxn modelId="{CC137E2F-EF4D-4978-880E-9D90BE4F483F}" type="presParOf" srcId="{82A78625-0B45-43DA-A862-56951F08A8EA}" destId="{E39F83A5-74F9-471B-865F-3503041B2D25}" srcOrd="0" destOrd="0" presId="urn:microsoft.com/office/officeart/2009/3/layout/StepUpProcess"/>
    <dgm:cxn modelId="{C8ED53E1-5229-49E5-81F6-457081C1B38C}" type="presParOf" srcId="{C09D8D3F-2F64-46B8-A9AE-F06068D50FAD}" destId="{FD9F62B4-88A3-4D7C-8303-F28ECA6485FA}" srcOrd="2" destOrd="0" presId="urn:microsoft.com/office/officeart/2009/3/layout/StepUpProcess"/>
    <dgm:cxn modelId="{66D322F2-FB1C-4BCD-A80C-18BC52B874EF}" type="presParOf" srcId="{FD9F62B4-88A3-4D7C-8303-F28ECA6485FA}" destId="{1EC21D07-3AE2-445D-8679-AAE5514D3CAC}" srcOrd="0" destOrd="0" presId="urn:microsoft.com/office/officeart/2009/3/layout/StepUpProcess"/>
    <dgm:cxn modelId="{1251D2E6-114F-46CC-874B-5B2C4AAD660D}" type="presParOf" srcId="{FD9F62B4-88A3-4D7C-8303-F28ECA6485FA}" destId="{EFEDE421-90FB-41C5-B5BF-EDC1A5D9C31C}" srcOrd="1" destOrd="0" presId="urn:microsoft.com/office/officeart/2009/3/layout/StepUpProcess"/>
    <dgm:cxn modelId="{46102024-C549-465D-A23B-155848DCF8ED}" type="presParOf" srcId="{FD9F62B4-88A3-4D7C-8303-F28ECA6485FA}" destId="{186E60F8-3613-42A3-8D7D-987F6AB990A6}" srcOrd="2" destOrd="0" presId="urn:microsoft.com/office/officeart/2009/3/layout/StepUpProcess"/>
    <dgm:cxn modelId="{5ADD7683-F028-44AA-BA96-E58956810CA9}" type="presParOf" srcId="{C09D8D3F-2F64-46B8-A9AE-F06068D50FAD}" destId="{DB92C1C8-8A8F-4F0A-B224-3CD491920E25}" srcOrd="3" destOrd="0" presId="urn:microsoft.com/office/officeart/2009/3/layout/StepUpProcess"/>
    <dgm:cxn modelId="{A3950E4F-99AF-4B33-9BE5-BBB98664100B}" type="presParOf" srcId="{DB92C1C8-8A8F-4F0A-B224-3CD491920E25}" destId="{8E4FF814-55AD-42B6-9AC2-E83FFFF1DBD5}" srcOrd="0" destOrd="0" presId="urn:microsoft.com/office/officeart/2009/3/layout/StepUpProcess"/>
    <dgm:cxn modelId="{80E1F8EB-D075-49A1-AF46-4E4024FD4F9B}" type="presParOf" srcId="{C09D8D3F-2F64-46B8-A9AE-F06068D50FAD}" destId="{709D3B69-C9AE-4410-B12F-A43B5574F6B1}" srcOrd="4" destOrd="0" presId="urn:microsoft.com/office/officeart/2009/3/layout/StepUpProcess"/>
    <dgm:cxn modelId="{4EE4E5A1-9E4A-4EDC-A6A8-B27094DAAF3B}" type="presParOf" srcId="{709D3B69-C9AE-4410-B12F-A43B5574F6B1}" destId="{F5DBA1AA-898E-443B-B181-2F96741E6C15}" srcOrd="0" destOrd="0" presId="urn:microsoft.com/office/officeart/2009/3/layout/StepUpProcess"/>
    <dgm:cxn modelId="{0BAF1F36-A972-4020-AC58-24BFBA3A5300}" type="presParOf" srcId="{709D3B69-C9AE-4410-B12F-A43B5574F6B1}" destId="{FBF030BD-263B-4E98-916E-530C9C7BE1F9}" srcOrd="1" destOrd="0" presId="urn:microsoft.com/office/officeart/2009/3/layout/StepUpProcess"/>
    <dgm:cxn modelId="{3CA02BA3-8B03-4F31-912C-9C280DF7FF2C}" type="presParOf" srcId="{709D3B69-C9AE-4410-B12F-A43B5574F6B1}" destId="{4A235F80-B814-470E-8989-4207188E13E9}" srcOrd="2" destOrd="0" presId="urn:microsoft.com/office/officeart/2009/3/layout/StepUpProcess"/>
    <dgm:cxn modelId="{8EB36552-FAFD-48E2-989D-CA018957426C}" type="presParOf" srcId="{C09D8D3F-2F64-46B8-A9AE-F06068D50FAD}" destId="{63715E73-DC28-475D-B1EF-8F14E205150A}" srcOrd="5" destOrd="0" presId="urn:microsoft.com/office/officeart/2009/3/layout/StepUpProcess"/>
    <dgm:cxn modelId="{83E66368-2F8D-42AF-AC5B-CA4624D92CC8}" type="presParOf" srcId="{63715E73-DC28-475D-B1EF-8F14E205150A}" destId="{2A58E278-1766-430D-AC6A-0A7C5F0B4D90}" srcOrd="0" destOrd="0" presId="urn:microsoft.com/office/officeart/2009/3/layout/StepUpProcess"/>
    <dgm:cxn modelId="{B90EE83A-AE36-478E-B78F-B3D02BEF0CB2}" type="presParOf" srcId="{C09D8D3F-2F64-46B8-A9AE-F06068D50FAD}" destId="{9F54CD51-4043-4B53-A6F5-52BC626926B1}" srcOrd="6" destOrd="0" presId="urn:microsoft.com/office/officeart/2009/3/layout/StepUpProcess"/>
    <dgm:cxn modelId="{C7D6C34E-E477-418F-8D06-D05B95C5BD4E}" type="presParOf" srcId="{9F54CD51-4043-4B53-A6F5-52BC626926B1}" destId="{090BB8F0-AA1B-4AE3-A053-53E3B9E68528}" srcOrd="0" destOrd="0" presId="urn:microsoft.com/office/officeart/2009/3/layout/StepUpProcess"/>
    <dgm:cxn modelId="{DABA14D1-6B69-461D-A060-4A4720242BF7}" type="presParOf" srcId="{9F54CD51-4043-4B53-A6F5-52BC626926B1}" destId="{669F8A5C-6F87-4A8F-9088-B91AF7F36E87}" srcOrd="1" destOrd="0" presId="urn:microsoft.com/office/officeart/2009/3/layout/StepUpProces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790845" cy="5790845"/>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895422" y="0"/>
          <a:ext cx="8253575" cy="579084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Personal</a:t>
          </a:r>
        </a:p>
      </dsp:txBody>
      <dsp:txXfrm>
        <a:off x="2895422" y="0"/>
        <a:ext cx="4126787" cy="1230554"/>
      </dsp:txXfrm>
    </dsp:sp>
    <dsp:sp modelId="{428EF539-45CC-4194-B5EC-45F99322CA47}">
      <dsp:nvSpPr>
        <dsp:cNvPr id="0" name=""/>
        <dsp:cNvSpPr/>
      </dsp:nvSpPr>
      <dsp:spPr>
        <a:xfrm>
          <a:off x="760048" y="1230554"/>
          <a:ext cx="4270748" cy="4270748"/>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F499B8-4ACA-4A7A-8C1E-14F4ECB3276F}">
      <dsp:nvSpPr>
        <dsp:cNvPr id="0" name=""/>
        <dsp:cNvSpPr/>
      </dsp:nvSpPr>
      <dsp:spPr>
        <a:xfrm>
          <a:off x="2895422" y="1230554"/>
          <a:ext cx="8253575" cy="4270748"/>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Team</a:t>
          </a:r>
        </a:p>
      </dsp:txBody>
      <dsp:txXfrm>
        <a:off x="2895422" y="1230554"/>
        <a:ext cx="4126787" cy="1230554"/>
      </dsp:txXfrm>
    </dsp:sp>
    <dsp:sp modelId="{2AA95DD1-241A-47B0-A74F-4B79E2FADBC4}">
      <dsp:nvSpPr>
        <dsp:cNvPr id="0" name=""/>
        <dsp:cNvSpPr/>
      </dsp:nvSpPr>
      <dsp:spPr>
        <a:xfrm>
          <a:off x="1520096" y="2461109"/>
          <a:ext cx="2750651" cy="2750651"/>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04F62D-DC7B-4603-88C3-6A908805D98D}">
      <dsp:nvSpPr>
        <dsp:cNvPr id="0" name=""/>
        <dsp:cNvSpPr/>
      </dsp:nvSpPr>
      <dsp:spPr>
        <a:xfrm>
          <a:off x="2895422" y="2461109"/>
          <a:ext cx="8253575" cy="2750651"/>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Departmental</a:t>
          </a:r>
        </a:p>
      </dsp:txBody>
      <dsp:txXfrm>
        <a:off x="2895422" y="2461109"/>
        <a:ext cx="4126787" cy="1230554"/>
      </dsp:txXfrm>
    </dsp:sp>
    <dsp:sp modelId="{C128E0FC-B373-4319-9068-817E84F9ECD6}">
      <dsp:nvSpPr>
        <dsp:cNvPr id="0" name=""/>
        <dsp:cNvSpPr/>
      </dsp:nvSpPr>
      <dsp:spPr>
        <a:xfrm>
          <a:off x="2280145" y="3691663"/>
          <a:ext cx="1230554" cy="1230554"/>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DF1E5E-B116-4DE8-A752-23204EFFA357}">
      <dsp:nvSpPr>
        <dsp:cNvPr id="0" name=""/>
        <dsp:cNvSpPr/>
      </dsp:nvSpPr>
      <dsp:spPr>
        <a:xfrm>
          <a:off x="2895422" y="3691663"/>
          <a:ext cx="8253575" cy="1230554"/>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6690" tIns="186690" rIns="186690" bIns="186690" numCol="1" spcCol="1270" anchor="ctr" anchorCtr="0">
          <a:noAutofit/>
        </a:bodyPr>
        <a:lstStyle/>
        <a:p>
          <a:pPr marL="0" lvl="0" indent="0" algn="ctr" defTabSz="2178050">
            <a:lnSpc>
              <a:spcPct val="90000"/>
            </a:lnSpc>
            <a:spcBef>
              <a:spcPct val="0"/>
            </a:spcBef>
            <a:spcAft>
              <a:spcPct val="35000"/>
            </a:spcAft>
            <a:buNone/>
          </a:pPr>
          <a:r>
            <a:rPr lang="en-US" sz="4900" kern="1200" dirty="0"/>
            <a:t>Enterprise</a:t>
          </a:r>
        </a:p>
      </dsp:txBody>
      <dsp:txXfrm>
        <a:off x="2895422" y="3691663"/>
        <a:ext cx="4126787" cy="1230554"/>
      </dsp:txXfrm>
    </dsp:sp>
    <dsp:sp modelId="{E0868841-CA79-48B0-8B24-06E20683B4DC}">
      <dsp:nvSpPr>
        <dsp:cNvPr id="0" name=""/>
        <dsp:cNvSpPr/>
      </dsp:nvSpPr>
      <dsp:spPr>
        <a:xfrm>
          <a:off x="7022210" y="0"/>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ower BI Desktop</a:t>
          </a:r>
        </a:p>
        <a:p>
          <a:pPr marL="228600" lvl="1" indent="-228600" algn="l" defTabSz="977900">
            <a:lnSpc>
              <a:spcPct val="90000"/>
            </a:lnSpc>
            <a:spcBef>
              <a:spcPct val="0"/>
            </a:spcBef>
            <a:spcAft>
              <a:spcPct val="15000"/>
            </a:spcAft>
            <a:buChar char="•"/>
          </a:pPr>
          <a:r>
            <a:rPr lang="en-US" sz="2200" kern="1200" dirty="0"/>
            <a:t>No Pro license</a:t>
          </a:r>
        </a:p>
        <a:p>
          <a:pPr marL="228600" lvl="1" indent="-228600" algn="l" defTabSz="977900">
            <a:lnSpc>
              <a:spcPct val="90000"/>
            </a:lnSpc>
            <a:spcBef>
              <a:spcPct val="0"/>
            </a:spcBef>
            <a:spcAft>
              <a:spcPct val="15000"/>
            </a:spcAft>
            <a:buChar char="•"/>
          </a:pPr>
          <a:r>
            <a:rPr lang="en-US" sz="2200" kern="1200" dirty="0"/>
            <a:t>No sharing</a:t>
          </a:r>
        </a:p>
      </dsp:txBody>
      <dsp:txXfrm>
        <a:off x="7022210" y="0"/>
        <a:ext cx="4126787" cy="1230554"/>
      </dsp:txXfrm>
    </dsp:sp>
    <dsp:sp modelId="{E0F94BF8-4AA2-4B57-BC67-E4836DE8E368}">
      <dsp:nvSpPr>
        <dsp:cNvPr id="0" name=""/>
        <dsp:cNvSpPr/>
      </dsp:nvSpPr>
      <dsp:spPr>
        <a:xfrm>
          <a:off x="7022210" y="1230554"/>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ro license for author</a:t>
          </a:r>
        </a:p>
        <a:p>
          <a:pPr marL="228600" lvl="1" indent="-228600" algn="l" defTabSz="977900">
            <a:lnSpc>
              <a:spcPct val="90000"/>
            </a:lnSpc>
            <a:spcBef>
              <a:spcPct val="0"/>
            </a:spcBef>
            <a:spcAft>
              <a:spcPct val="15000"/>
            </a:spcAft>
            <a:buChar char="•"/>
          </a:pPr>
          <a:r>
            <a:rPr lang="en-US" sz="2200" kern="1200" dirty="0"/>
            <a:t>Pro license for reader</a:t>
          </a:r>
        </a:p>
      </dsp:txBody>
      <dsp:txXfrm>
        <a:off x="7022210" y="1230554"/>
        <a:ext cx="4126787" cy="1230554"/>
      </dsp:txXfrm>
    </dsp:sp>
    <dsp:sp modelId="{0EDE1A9E-0481-40C6-9336-53936D8E0933}">
      <dsp:nvSpPr>
        <dsp:cNvPr id="0" name=""/>
        <dsp:cNvSpPr/>
      </dsp:nvSpPr>
      <dsp:spPr>
        <a:xfrm>
          <a:off x="7022210" y="2461109"/>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Managed SSBI</a:t>
          </a:r>
        </a:p>
        <a:p>
          <a:pPr marL="228600" lvl="1" indent="-228600" algn="l" defTabSz="977900">
            <a:lnSpc>
              <a:spcPct val="90000"/>
            </a:lnSpc>
            <a:spcBef>
              <a:spcPct val="0"/>
            </a:spcBef>
            <a:spcAft>
              <a:spcPct val="15000"/>
            </a:spcAft>
            <a:buChar char="•"/>
          </a:pPr>
          <a:r>
            <a:rPr lang="en-US" sz="2200" kern="1200" dirty="0"/>
            <a:t>Premium capacity w/gates</a:t>
          </a:r>
        </a:p>
      </dsp:txBody>
      <dsp:txXfrm>
        <a:off x="7022210" y="2461109"/>
        <a:ext cx="4126787" cy="1230554"/>
      </dsp:txXfrm>
    </dsp:sp>
    <dsp:sp modelId="{47EF0C8B-5593-4AD0-BE10-D1DCAF08C4F0}">
      <dsp:nvSpPr>
        <dsp:cNvPr id="0" name=""/>
        <dsp:cNvSpPr/>
      </dsp:nvSpPr>
      <dsp:spPr>
        <a:xfrm>
          <a:off x="7022210" y="3691663"/>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Central BI</a:t>
          </a:r>
        </a:p>
        <a:p>
          <a:pPr marL="228600" lvl="1" indent="-228600" algn="l" defTabSz="977900">
            <a:lnSpc>
              <a:spcPct val="90000"/>
            </a:lnSpc>
            <a:spcBef>
              <a:spcPct val="0"/>
            </a:spcBef>
            <a:spcAft>
              <a:spcPct val="15000"/>
            </a:spcAft>
            <a:buChar char="•"/>
          </a:pPr>
          <a:r>
            <a:rPr lang="en-US" sz="2200" kern="1200" dirty="0"/>
            <a:t>Full support and ALM</a:t>
          </a:r>
        </a:p>
      </dsp:txBody>
      <dsp:txXfrm>
        <a:off x="7022210" y="3691663"/>
        <a:ext cx="4126787" cy="12305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5790845" cy="5790845"/>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2895422" y="0"/>
          <a:ext cx="8253575" cy="579084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a:t>End Users</a:t>
          </a:r>
          <a:endParaRPr lang="en-US" sz="3400" kern="1200" dirty="0"/>
        </a:p>
      </dsp:txBody>
      <dsp:txXfrm>
        <a:off x="2895422" y="0"/>
        <a:ext cx="4126787" cy="1230554"/>
      </dsp:txXfrm>
    </dsp:sp>
    <dsp:sp modelId="{BB5965C5-F907-483A-B0A5-414578A21B77}">
      <dsp:nvSpPr>
        <dsp:cNvPr id="0" name=""/>
        <dsp:cNvSpPr/>
      </dsp:nvSpPr>
      <dsp:spPr>
        <a:xfrm>
          <a:off x="760048" y="1230554"/>
          <a:ext cx="4270748" cy="4270748"/>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2895422" y="1230554"/>
          <a:ext cx="8253575" cy="4270748"/>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Users in Key Departments</a:t>
          </a:r>
        </a:p>
      </dsp:txBody>
      <dsp:txXfrm>
        <a:off x="2895422" y="1230554"/>
        <a:ext cx="4126787" cy="1230554"/>
      </dsp:txXfrm>
    </dsp:sp>
    <dsp:sp modelId="{49156CC1-4316-4278-8CEF-4AC787FCE06A}">
      <dsp:nvSpPr>
        <dsp:cNvPr id="0" name=""/>
        <dsp:cNvSpPr/>
      </dsp:nvSpPr>
      <dsp:spPr>
        <a:xfrm>
          <a:off x="1520096" y="2461109"/>
          <a:ext cx="2750651" cy="2750651"/>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2895422" y="2461109"/>
          <a:ext cx="8253575" cy="2750651"/>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Power Users</a:t>
          </a:r>
        </a:p>
      </dsp:txBody>
      <dsp:txXfrm>
        <a:off x="2895422" y="2461109"/>
        <a:ext cx="4126787" cy="1230554"/>
      </dsp:txXfrm>
    </dsp:sp>
    <dsp:sp modelId="{BECD5256-D636-446C-B5FE-6A37BB73EB67}">
      <dsp:nvSpPr>
        <dsp:cNvPr id="0" name=""/>
        <dsp:cNvSpPr/>
      </dsp:nvSpPr>
      <dsp:spPr>
        <a:xfrm>
          <a:off x="2280145" y="3691663"/>
          <a:ext cx="1230554" cy="1230554"/>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2895422" y="3691663"/>
          <a:ext cx="8253575" cy="1230554"/>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n-US" sz="3400" kern="1200" dirty="0"/>
            <a:t>Hardcore IT</a:t>
          </a:r>
        </a:p>
      </dsp:txBody>
      <dsp:txXfrm>
        <a:off x="2895422" y="3691663"/>
        <a:ext cx="4126787" cy="1230554"/>
      </dsp:txXfrm>
    </dsp:sp>
    <dsp:sp modelId="{E0868841-CA79-48B0-8B24-06E20683B4DC}">
      <dsp:nvSpPr>
        <dsp:cNvPr id="0" name=""/>
        <dsp:cNvSpPr/>
      </dsp:nvSpPr>
      <dsp:spPr>
        <a:xfrm>
          <a:off x="7022210" y="0"/>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user can work with data</a:t>
          </a:r>
        </a:p>
        <a:p>
          <a:pPr marL="228600" lvl="1" indent="-228600" algn="l" defTabSz="977900">
            <a:lnSpc>
              <a:spcPct val="90000"/>
            </a:lnSpc>
            <a:spcBef>
              <a:spcPct val="0"/>
            </a:spcBef>
            <a:spcAft>
              <a:spcPct val="15000"/>
            </a:spcAft>
            <a:buChar char="•"/>
          </a:pPr>
          <a:r>
            <a:rPr lang="en-US" sz="2200" kern="1200" dirty="0"/>
            <a:t>Curated datasets</a:t>
          </a:r>
        </a:p>
      </dsp:txBody>
      <dsp:txXfrm>
        <a:off x="7022210" y="0"/>
        <a:ext cx="4126787" cy="1230554"/>
      </dsp:txXfrm>
    </dsp:sp>
    <dsp:sp modelId="{4A11FD6C-291E-4C7E-BD4C-D721A5D23244}">
      <dsp:nvSpPr>
        <dsp:cNvPr id="0" name=""/>
        <dsp:cNvSpPr/>
      </dsp:nvSpPr>
      <dsp:spPr>
        <a:xfrm>
          <a:off x="7022210" y="1230554"/>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ny user can work with data</a:t>
          </a:r>
        </a:p>
        <a:p>
          <a:pPr marL="228600" lvl="1" indent="-228600" algn="l" defTabSz="977900">
            <a:lnSpc>
              <a:spcPct val="90000"/>
            </a:lnSpc>
            <a:spcBef>
              <a:spcPct val="0"/>
            </a:spcBef>
            <a:spcAft>
              <a:spcPct val="15000"/>
            </a:spcAft>
            <a:buChar char="•"/>
          </a:pPr>
          <a:r>
            <a:rPr lang="en-US" sz="2200" kern="1200" dirty="0"/>
            <a:t>More data available</a:t>
          </a:r>
        </a:p>
      </dsp:txBody>
      <dsp:txXfrm>
        <a:off x="7022210" y="1230554"/>
        <a:ext cx="4126787" cy="1230554"/>
      </dsp:txXfrm>
    </dsp:sp>
    <dsp:sp modelId="{4133E269-082B-40CA-BDEE-0073C65D10D8}">
      <dsp:nvSpPr>
        <dsp:cNvPr id="0" name=""/>
        <dsp:cNvSpPr/>
      </dsp:nvSpPr>
      <dsp:spPr>
        <a:xfrm>
          <a:off x="7022210" y="2461109"/>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More skills</a:t>
          </a:r>
        </a:p>
        <a:p>
          <a:pPr marL="228600" lvl="1" indent="-228600" algn="l" defTabSz="977900">
            <a:lnSpc>
              <a:spcPct val="90000"/>
            </a:lnSpc>
            <a:spcBef>
              <a:spcPct val="0"/>
            </a:spcBef>
            <a:spcAft>
              <a:spcPct val="15000"/>
            </a:spcAft>
            <a:buChar char="•"/>
          </a:pPr>
          <a:r>
            <a:rPr lang="en-US" sz="2200" kern="1200" dirty="0"/>
            <a:t>More tools</a:t>
          </a:r>
        </a:p>
        <a:p>
          <a:pPr marL="228600" lvl="1" indent="-228600" algn="l" defTabSz="977900">
            <a:lnSpc>
              <a:spcPct val="90000"/>
            </a:lnSpc>
            <a:spcBef>
              <a:spcPct val="0"/>
            </a:spcBef>
            <a:spcAft>
              <a:spcPct val="15000"/>
            </a:spcAft>
            <a:buChar char="•"/>
          </a:pPr>
          <a:r>
            <a:rPr lang="en-US" sz="2200" kern="1200" dirty="0"/>
            <a:t>Better resources</a:t>
          </a:r>
        </a:p>
      </dsp:txBody>
      <dsp:txXfrm>
        <a:off x="7022210" y="2461109"/>
        <a:ext cx="4126787" cy="1230554"/>
      </dsp:txXfrm>
    </dsp:sp>
    <dsp:sp modelId="{C7047BA2-2019-4E65-A76B-4EE5B1055C58}">
      <dsp:nvSpPr>
        <dsp:cNvPr id="0" name=""/>
        <dsp:cNvSpPr/>
      </dsp:nvSpPr>
      <dsp:spPr>
        <a:xfrm>
          <a:off x="7022210" y="3691663"/>
          <a:ext cx="4126787" cy="12305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Professional developers</a:t>
          </a:r>
        </a:p>
        <a:p>
          <a:pPr marL="228600" lvl="1" indent="-228600" algn="l" defTabSz="977900">
            <a:lnSpc>
              <a:spcPct val="90000"/>
            </a:lnSpc>
            <a:spcBef>
              <a:spcPct val="0"/>
            </a:spcBef>
            <a:spcAft>
              <a:spcPct val="15000"/>
            </a:spcAft>
            <a:buChar char="•"/>
          </a:pPr>
          <a:r>
            <a:rPr lang="en-US" sz="2200" kern="1200" dirty="0"/>
            <a:t>Traditional owners of BI</a:t>
          </a:r>
        </a:p>
      </dsp:txBody>
      <dsp:txXfrm>
        <a:off x="7022210" y="3691663"/>
        <a:ext cx="4126787" cy="1230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61434" y="2788460"/>
          <a:ext cx="1383075" cy="2301406"/>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0564" y="3476084"/>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Exploration</a:t>
          </a:r>
        </a:p>
        <a:p>
          <a:pPr marL="171450" lvl="1" indent="-171450" algn="l" defTabSz="711200">
            <a:lnSpc>
              <a:spcPct val="90000"/>
            </a:lnSpc>
            <a:spcBef>
              <a:spcPct val="0"/>
            </a:spcBef>
            <a:spcAft>
              <a:spcPct val="15000"/>
            </a:spcAft>
            <a:buChar char="•"/>
          </a:pPr>
          <a:r>
            <a:rPr lang="en-US" sz="1600" kern="1200" dirty="0"/>
            <a:t>Work with SSBI</a:t>
          </a:r>
        </a:p>
        <a:p>
          <a:pPr marL="171450" lvl="1" indent="-171450" algn="l" defTabSz="711200">
            <a:lnSpc>
              <a:spcPct val="90000"/>
            </a:lnSpc>
            <a:spcBef>
              <a:spcPct val="0"/>
            </a:spcBef>
            <a:spcAft>
              <a:spcPct val="15000"/>
            </a:spcAft>
            <a:buChar char="•"/>
          </a:pPr>
          <a:r>
            <a:rPr lang="en-US" sz="1600" kern="1200" dirty="0"/>
            <a:t>Prove out ideas</a:t>
          </a:r>
        </a:p>
        <a:p>
          <a:pPr marL="171450" lvl="1" indent="-171450" algn="l" defTabSz="711200">
            <a:lnSpc>
              <a:spcPct val="90000"/>
            </a:lnSpc>
            <a:spcBef>
              <a:spcPct val="0"/>
            </a:spcBef>
            <a:spcAft>
              <a:spcPct val="15000"/>
            </a:spcAft>
            <a:buChar char="•"/>
          </a:pPr>
          <a:r>
            <a:rPr lang="en-US" sz="1600" kern="1200" dirty="0"/>
            <a:t>Desktop or Excel</a:t>
          </a:r>
        </a:p>
      </dsp:txBody>
      <dsp:txXfrm>
        <a:off x="230564" y="3476084"/>
        <a:ext cx="2077722" cy="1821246"/>
      </dsp:txXfrm>
    </dsp:sp>
    <dsp:sp modelId="{7892D8E5-7831-49CA-80E3-16F27E5F78B1}">
      <dsp:nvSpPr>
        <dsp:cNvPr id="0" name=""/>
        <dsp:cNvSpPr/>
      </dsp:nvSpPr>
      <dsp:spPr>
        <a:xfrm>
          <a:off x="1916264" y="2619027"/>
          <a:ext cx="392023" cy="392023"/>
        </a:xfrm>
        <a:prstGeom prst="triangle">
          <a:avLst>
            <a:gd name="adj" fmla="val 100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04973" y="2159058"/>
          <a:ext cx="1383075" cy="2301406"/>
        </a:xfrm>
        <a:prstGeom prst="corner">
          <a:avLst>
            <a:gd name="adj1" fmla="val 16120"/>
            <a:gd name="adj2" fmla="val 1611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774103" y="2846683"/>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Promotion</a:t>
          </a:r>
        </a:p>
        <a:p>
          <a:pPr marL="171450" lvl="1" indent="-171450" algn="l" defTabSz="711200">
            <a:lnSpc>
              <a:spcPct val="90000"/>
            </a:lnSpc>
            <a:spcBef>
              <a:spcPct val="0"/>
            </a:spcBef>
            <a:spcAft>
              <a:spcPct val="15000"/>
            </a:spcAft>
            <a:buChar char="•"/>
          </a:pPr>
          <a:r>
            <a:rPr lang="en-US" sz="1600" kern="1200" dirty="0"/>
            <a:t>Gateway</a:t>
          </a:r>
        </a:p>
        <a:p>
          <a:pPr marL="171450" lvl="1" indent="-171450" algn="l" defTabSz="711200">
            <a:lnSpc>
              <a:spcPct val="90000"/>
            </a:lnSpc>
            <a:spcBef>
              <a:spcPct val="0"/>
            </a:spcBef>
            <a:spcAft>
              <a:spcPct val="15000"/>
            </a:spcAft>
            <a:buChar char="•"/>
          </a:pPr>
          <a:r>
            <a:rPr lang="en-US" sz="1600" kern="1200" dirty="0"/>
            <a:t>Scheduled refresh</a:t>
          </a:r>
        </a:p>
        <a:p>
          <a:pPr marL="171450" lvl="1" indent="-171450" algn="l" defTabSz="711200">
            <a:lnSpc>
              <a:spcPct val="90000"/>
            </a:lnSpc>
            <a:spcBef>
              <a:spcPct val="0"/>
            </a:spcBef>
            <a:spcAft>
              <a:spcPct val="15000"/>
            </a:spcAft>
            <a:buChar char="•"/>
          </a:pPr>
          <a:r>
            <a:rPr lang="en-US" sz="1600" kern="1200" dirty="0"/>
            <a:t>Theme</a:t>
          </a:r>
        </a:p>
      </dsp:txBody>
      <dsp:txXfrm>
        <a:off x="2774103" y="2846683"/>
        <a:ext cx="2077722" cy="1821246"/>
      </dsp:txXfrm>
    </dsp:sp>
    <dsp:sp modelId="{186E60F8-3613-42A3-8D7D-987F6AB990A6}">
      <dsp:nvSpPr>
        <dsp:cNvPr id="0" name=""/>
        <dsp:cNvSpPr/>
      </dsp:nvSpPr>
      <dsp:spPr>
        <a:xfrm>
          <a:off x="4459803" y="1989626"/>
          <a:ext cx="392023" cy="392023"/>
        </a:xfrm>
        <a:prstGeom prst="triangle">
          <a:avLst>
            <a:gd name="adj" fmla="val 100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548512" y="1529657"/>
          <a:ext cx="1383075" cy="2301406"/>
        </a:xfrm>
        <a:prstGeom prst="corner">
          <a:avLst>
            <a:gd name="adj1" fmla="val 16120"/>
            <a:gd name="adj2" fmla="val 1611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317642" y="2217282"/>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Preparation</a:t>
          </a:r>
          <a:endParaRPr lang="en-US" sz="2000" kern="1200" dirty="0"/>
        </a:p>
        <a:p>
          <a:pPr marL="171450" lvl="1" indent="-171450" algn="l" defTabSz="711200">
            <a:lnSpc>
              <a:spcPct val="90000"/>
            </a:lnSpc>
            <a:spcBef>
              <a:spcPct val="0"/>
            </a:spcBef>
            <a:spcAft>
              <a:spcPct val="15000"/>
            </a:spcAft>
            <a:buChar char="•"/>
          </a:pPr>
          <a:r>
            <a:rPr lang="en-US" sz="1600" kern="1200" dirty="0"/>
            <a:t>Data sources</a:t>
          </a:r>
        </a:p>
        <a:p>
          <a:pPr marL="171450" lvl="1" indent="-171450" algn="l" defTabSz="711200">
            <a:lnSpc>
              <a:spcPct val="90000"/>
            </a:lnSpc>
            <a:spcBef>
              <a:spcPct val="0"/>
            </a:spcBef>
            <a:spcAft>
              <a:spcPct val="15000"/>
            </a:spcAft>
            <a:buChar char="•"/>
          </a:pPr>
          <a:r>
            <a:rPr lang="en-US" sz="1600" kern="1200" dirty="0"/>
            <a:t>Documentation</a:t>
          </a:r>
        </a:p>
        <a:p>
          <a:pPr marL="171450" lvl="1" indent="-171450" algn="l" defTabSz="711200">
            <a:lnSpc>
              <a:spcPct val="90000"/>
            </a:lnSpc>
            <a:spcBef>
              <a:spcPct val="0"/>
            </a:spcBef>
            <a:spcAft>
              <a:spcPct val="15000"/>
            </a:spcAft>
            <a:buChar char="•"/>
          </a:pPr>
          <a:r>
            <a:rPr lang="en-US" sz="1600" kern="1200" dirty="0"/>
            <a:t>Ownership</a:t>
          </a:r>
        </a:p>
      </dsp:txBody>
      <dsp:txXfrm>
        <a:off x="5317642" y="2217282"/>
        <a:ext cx="2077722" cy="1821246"/>
      </dsp:txXfrm>
    </dsp:sp>
    <dsp:sp modelId="{4A235F80-B814-470E-8989-4207188E13E9}">
      <dsp:nvSpPr>
        <dsp:cNvPr id="0" name=""/>
        <dsp:cNvSpPr/>
      </dsp:nvSpPr>
      <dsp:spPr>
        <a:xfrm>
          <a:off x="7003342" y="1360225"/>
          <a:ext cx="392023" cy="392023"/>
        </a:xfrm>
        <a:prstGeom prst="triangle">
          <a:avLst>
            <a:gd name="adj" fmla="val 10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092050" y="900256"/>
          <a:ext cx="1383075" cy="2301406"/>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7861181" y="1587881"/>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Operationalization</a:t>
          </a:r>
        </a:p>
        <a:p>
          <a:pPr marL="171450" lvl="1" indent="-171450" algn="l" defTabSz="711200">
            <a:lnSpc>
              <a:spcPct val="90000"/>
            </a:lnSpc>
            <a:spcBef>
              <a:spcPct val="0"/>
            </a:spcBef>
            <a:spcAft>
              <a:spcPct val="15000"/>
            </a:spcAft>
            <a:buChar char="•"/>
          </a:pPr>
          <a:r>
            <a:rPr lang="en-US" sz="1600" kern="1200" dirty="0"/>
            <a:t>Prod workspace</a:t>
          </a:r>
        </a:p>
        <a:p>
          <a:pPr marL="171450" lvl="1" indent="-171450" algn="l" defTabSz="711200">
            <a:lnSpc>
              <a:spcPct val="90000"/>
            </a:lnSpc>
            <a:spcBef>
              <a:spcPct val="0"/>
            </a:spcBef>
            <a:spcAft>
              <a:spcPct val="15000"/>
            </a:spcAft>
            <a:buChar char="•"/>
          </a:pPr>
          <a:r>
            <a:rPr lang="en-US" sz="1600" kern="1200" dirty="0"/>
            <a:t>Full support</a:t>
          </a:r>
        </a:p>
        <a:p>
          <a:pPr marL="171450" lvl="1" indent="-171450" algn="l" defTabSz="711200">
            <a:lnSpc>
              <a:spcPct val="90000"/>
            </a:lnSpc>
            <a:spcBef>
              <a:spcPct val="0"/>
            </a:spcBef>
            <a:spcAft>
              <a:spcPct val="15000"/>
            </a:spcAft>
            <a:buChar char="•"/>
          </a:pPr>
          <a:r>
            <a:rPr lang="en-US" sz="1600" kern="1200" dirty="0"/>
            <a:t>SLA</a:t>
          </a:r>
        </a:p>
      </dsp:txBody>
      <dsp:txXfrm>
        <a:off x="7861181" y="1587881"/>
        <a:ext cx="2077722" cy="18212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3285EF-7CF0-4D03-9C7E-A9EFF915D1E6}">
      <dsp:nvSpPr>
        <dsp:cNvPr id="0" name=""/>
        <dsp:cNvSpPr/>
      </dsp:nvSpPr>
      <dsp:spPr>
        <a:xfrm>
          <a:off x="0" y="0"/>
          <a:ext cx="2139820" cy="2139820"/>
        </a:xfrm>
        <a:prstGeom prst="pie">
          <a:avLst>
            <a:gd name="adj1" fmla="val 5400000"/>
            <a:gd name="adj2" fmla="val 16200000"/>
          </a:avLst>
        </a:prstGeom>
        <a:solidFill>
          <a:srgbClr val="ED7D3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271936-9E56-4BB3-AA63-1ACD49AF8B48}">
      <dsp:nvSpPr>
        <dsp:cNvPr id="0" name=""/>
        <dsp:cNvSpPr/>
      </dsp:nvSpPr>
      <dsp:spPr>
        <a:xfrm>
          <a:off x="1069910" y="0"/>
          <a:ext cx="3049843" cy="213982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t>End Users</a:t>
          </a:r>
          <a:endParaRPr lang="en-US" sz="1200" kern="1200" dirty="0"/>
        </a:p>
      </dsp:txBody>
      <dsp:txXfrm>
        <a:off x="1069910" y="0"/>
        <a:ext cx="1524921" cy="454711"/>
      </dsp:txXfrm>
    </dsp:sp>
    <dsp:sp modelId="{BB5965C5-F907-483A-B0A5-414578A21B77}">
      <dsp:nvSpPr>
        <dsp:cNvPr id="0" name=""/>
        <dsp:cNvSpPr/>
      </dsp:nvSpPr>
      <dsp:spPr>
        <a:xfrm>
          <a:off x="280851" y="454711"/>
          <a:ext cx="1578117" cy="1578117"/>
        </a:xfrm>
        <a:prstGeom prst="pie">
          <a:avLst>
            <a:gd name="adj1" fmla="val 5400000"/>
            <a:gd name="adj2" fmla="val 16200000"/>
          </a:avLst>
        </a:prstGeom>
        <a:solidFill>
          <a:srgbClr val="A5A5A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A332EC-4F8C-4AEA-9B46-C6A414F7A033}">
      <dsp:nvSpPr>
        <dsp:cNvPr id="0" name=""/>
        <dsp:cNvSpPr/>
      </dsp:nvSpPr>
      <dsp:spPr>
        <a:xfrm>
          <a:off x="1069910" y="454711"/>
          <a:ext cx="3049843" cy="1578117"/>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Users in Key Departments</a:t>
          </a:r>
        </a:p>
      </dsp:txBody>
      <dsp:txXfrm>
        <a:off x="1069910" y="454711"/>
        <a:ext cx="1524921" cy="454711"/>
      </dsp:txXfrm>
    </dsp:sp>
    <dsp:sp modelId="{49156CC1-4316-4278-8CEF-4AC787FCE06A}">
      <dsp:nvSpPr>
        <dsp:cNvPr id="0" name=""/>
        <dsp:cNvSpPr/>
      </dsp:nvSpPr>
      <dsp:spPr>
        <a:xfrm>
          <a:off x="561703" y="909423"/>
          <a:ext cx="1016414" cy="1016414"/>
        </a:xfrm>
        <a:prstGeom prst="pie">
          <a:avLst>
            <a:gd name="adj1" fmla="val 5400000"/>
            <a:gd name="adj2" fmla="val 16200000"/>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A6B55-D247-481E-B079-427345A889D5}">
      <dsp:nvSpPr>
        <dsp:cNvPr id="0" name=""/>
        <dsp:cNvSpPr/>
      </dsp:nvSpPr>
      <dsp:spPr>
        <a:xfrm>
          <a:off x="1069910" y="909423"/>
          <a:ext cx="3049843" cy="1016414"/>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Power Users</a:t>
          </a:r>
        </a:p>
      </dsp:txBody>
      <dsp:txXfrm>
        <a:off x="1069910" y="909423"/>
        <a:ext cx="1524921" cy="454711"/>
      </dsp:txXfrm>
    </dsp:sp>
    <dsp:sp modelId="{BECD5256-D636-446C-B5FE-6A37BB73EB67}">
      <dsp:nvSpPr>
        <dsp:cNvPr id="0" name=""/>
        <dsp:cNvSpPr/>
      </dsp:nvSpPr>
      <dsp:spPr>
        <a:xfrm>
          <a:off x="842554" y="1364135"/>
          <a:ext cx="454711" cy="454711"/>
        </a:xfrm>
        <a:prstGeom prst="pie">
          <a:avLst>
            <a:gd name="adj1" fmla="val 5400000"/>
            <a:gd name="adj2" fmla="val 16200000"/>
          </a:avLst>
        </a:prstGeom>
        <a:solidFill>
          <a:srgbClr val="5B9BD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14F23A-A444-4242-B2A7-9CA012AE34B8}">
      <dsp:nvSpPr>
        <dsp:cNvPr id="0" name=""/>
        <dsp:cNvSpPr/>
      </dsp:nvSpPr>
      <dsp:spPr>
        <a:xfrm>
          <a:off x="1069910" y="1364135"/>
          <a:ext cx="3049843" cy="454711"/>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Hardcore IT</a:t>
          </a:r>
        </a:p>
      </dsp:txBody>
      <dsp:txXfrm>
        <a:off x="1069910" y="1364135"/>
        <a:ext cx="1524921" cy="454711"/>
      </dsp:txXfrm>
    </dsp:sp>
    <dsp:sp modelId="{E0868841-CA79-48B0-8B24-06E20683B4DC}">
      <dsp:nvSpPr>
        <dsp:cNvPr id="0" name=""/>
        <dsp:cNvSpPr/>
      </dsp:nvSpPr>
      <dsp:spPr>
        <a:xfrm>
          <a:off x="2594832" y="0"/>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Any user can work with data</a:t>
          </a:r>
        </a:p>
        <a:p>
          <a:pPr marL="57150" lvl="1" indent="-57150" algn="l" defTabSz="355600">
            <a:lnSpc>
              <a:spcPct val="90000"/>
            </a:lnSpc>
            <a:spcBef>
              <a:spcPct val="0"/>
            </a:spcBef>
            <a:spcAft>
              <a:spcPct val="15000"/>
            </a:spcAft>
            <a:buChar char="•"/>
          </a:pPr>
          <a:r>
            <a:rPr lang="en-US" sz="800" kern="1200" dirty="0"/>
            <a:t>Curated datasets</a:t>
          </a:r>
        </a:p>
      </dsp:txBody>
      <dsp:txXfrm>
        <a:off x="2594832" y="0"/>
        <a:ext cx="1524921" cy="454711"/>
      </dsp:txXfrm>
    </dsp:sp>
    <dsp:sp modelId="{4A11FD6C-291E-4C7E-BD4C-D721A5D23244}">
      <dsp:nvSpPr>
        <dsp:cNvPr id="0" name=""/>
        <dsp:cNvSpPr/>
      </dsp:nvSpPr>
      <dsp:spPr>
        <a:xfrm>
          <a:off x="2594832" y="454711"/>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Any user can work with data</a:t>
          </a:r>
        </a:p>
        <a:p>
          <a:pPr marL="57150" lvl="1" indent="-57150" algn="l" defTabSz="355600">
            <a:lnSpc>
              <a:spcPct val="90000"/>
            </a:lnSpc>
            <a:spcBef>
              <a:spcPct val="0"/>
            </a:spcBef>
            <a:spcAft>
              <a:spcPct val="15000"/>
            </a:spcAft>
            <a:buChar char="•"/>
          </a:pPr>
          <a:r>
            <a:rPr lang="en-US" sz="800" kern="1200" dirty="0"/>
            <a:t>More data available</a:t>
          </a:r>
        </a:p>
      </dsp:txBody>
      <dsp:txXfrm>
        <a:off x="2594832" y="454711"/>
        <a:ext cx="1524921" cy="454711"/>
      </dsp:txXfrm>
    </dsp:sp>
    <dsp:sp modelId="{4133E269-082B-40CA-BDEE-0073C65D10D8}">
      <dsp:nvSpPr>
        <dsp:cNvPr id="0" name=""/>
        <dsp:cNvSpPr/>
      </dsp:nvSpPr>
      <dsp:spPr>
        <a:xfrm>
          <a:off x="2594832" y="909423"/>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More skills</a:t>
          </a:r>
        </a:p>
        <a:p>
          <a:pPr marL="57150" lvl="1" indent="-57150" algn="l" defTabSz="355600">
            <a:lnSpc>
              <a:spcPct val="90000"/>
            </a:lnSpc>
            <a:spcBef>
              <a:spcPct val="0"/>
            </a:spcBef>
            <a:spcAft>
              <a:spcPct val="15000"/>
            </a:spcAft>
            <a:buChar char="•"/>
          </a:pPr>
          <a:r>
            <a:rPr lang="en-US" sz="800" kern="1200" dirty="0"/>
            <a:t>More tools</a:t>
          </a:r>
        </a:p>
        <a:p>
          <a:pPr marL="57150" lvl="1" indent="-57150" algn="l" defTabSz="355600">
            <a:lnSpc>
              <a:spcPct val="90000"/>
            </a:lnSpc>
            <a:spcBef>
              <a:spcPct val="0"/>
            </a:spcBef>
            <a:spcAft>
              <a:spcPct val="15000"/>
            </a:spcAft>
            <a:buChar char="•"/>
          </a:pPr>
          <a:r>
            <a:rPr lang="en-US" sz="800" kern="1200" dirty="0"/>
            <a:t>Better resources</a:t>
          </a:r>
        </a:p>
      </dsp:txBody>
      <dsp:txXfrm>
        <a:off x="2594832" y="909423"/>
        <a:ext cx="1524921" cy="454711"/>
      </dsp:txXfrm>
    </dsp:sp>
    <dsp:sp modelId="{C7047BA2-2019-4E65-A76B-4EE5B1055C58}">
      <dsp:nvSpPr>
        <dsp:cNvPr id="0" name=""/>
        <dsp:cNvSpPr/>
      </dsp:nvSpPr>
      <dsp:spPr>
        <a:xfrm>
          <a:off x="2594832" y="1364135"/>
          <a:ext cx="1524921" cy="45471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57150" lvl="1" indent="-57150" algn="l" defTabSz="355600">
            <a:lnSpc>
              <a:spcPct val="90000"/>
            </a:lnSpc>
            <a:spcBef>
              <a:spcPct val="0"/>
            </a:spcBef>
            <a:spcAft>
              <a:spcPct val="15000"/>
            </a:spcAft>
            <a:buChar char="•"/>
          </a:pPr>
          <a:r>
            <a:rPr lang="en-US" sz="800" kern="1200" dirty="0"/>
            <a:t>Professional developers</a:t>
          </a:r>
        </a:p>
        <a:p>
          <a:pPr marL="57150" lvl="1" indent="-57150" algn="l" defTabSz="355600">
            <a:lnSpc>
              <a:spcPct val="90000"/>
            </a:lnSpc>
            <a:spcBef>
              <a:spcPct val="0"/>
            </a:spcBef>
            <a:spcAft>
              <a:spcPct val="15000"/>
            </a:spcAft>
            <a:buChar char="•"/>
          </a:pPr>
          <a:r>
            <a:rPr lang="en-US" sz="800" kern="1200" dirty="0"/>
            <a:t>Traditional owners of BI</a:t>
          </a:r>
        </a:p>
      </dsp:txBody>
      <dsp:txXfrm>
        <a:off x="2594832" y="1364135"/>
        <a:ext cx="1524921" cy="4547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8BC4B-E7B1-4268-9495-5D73CC9C3051}">
      <dsp:nvSpPr>
        <dsp:cNvPr id="0" name=""/>
        <dsp:cNvSpPr/>
      </dsp:nvSpPr>
      <dsp:spPr>
        <a:xfrm rot="5400000">
          <a:off x="461434" y="2788460"/>
          <a:ext cx="1383075" cy="2301406"/>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845A6-302F-43F6-9CB3-AF9747308E3F}">
      <dsp:nvSpPr>
        <dsp:cNvPr id="0" name=""/>
        <dsp:cNvSpPr/>
      </dsp:nvSpPr>
      <dsp:spPr>
        <a:xfrm>
          <a:off x="230564" y="3476084"/>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Exploration</a:t>
          </a:r>
        </a:p>
        <a:p>
          <a:pPr marL="171450" lvl="1" indent="-171450" algn="l" defTabSz="711200">
            <a:lnSpc>
              <a:spcPct val="90000"/>
            </a:lnSpc>
            <a:spcBef>
              <a:spcPct val="0"/>
            </a:spcBef>
            <a:spcAft>
              <a:spcPct val="15000"/>
            </a:spcAft>
            <a:buChar char="•"/>
          </a:pPr>
          <a:r>
            <a:rPr lang="en-US" sz="1600" kern="1200" dirty="0"/>
            <a:t>Work with SSBI</a:t>
          </a:r>
        </a:p>
        <a:p>
          <a:pPr marL="171450" lvl="1" indent="-171450" algn="l" defTabSz="711200">
            <a:lnSpc>
              <a:spcPct val="90000"/>
            </a:lnSpc>
            <a:spcBef>
              <a:spcPct val="0"/>
            </a:spcBef>
            <a:spcAft>
              <a:spcPct val="15000"/>
            </a:spcAft>
            <a:buChar char="•"/>
          </a:pPr>
          <a:r>
            <a:rPr lang="en-US" sz="1600" kern="1200" dirty="0"/>
            <a:t>Prove out ideas</a:t>
          </a:r>
        </a:p>
        <a:p>
          <a:pPr marL="171450" lvl="1" indent="-171450" algn="l" defTabSz="711200">
            <a:lnSpc>
              <a:spcPct val="90000"/>
            </a:lnSpc>
            <a:spcBef>
              <a:spcPct val="0"/>
            </a:spcBef>
            <a:spcAft>
              <a:spcPct val="15000"/>
            </a:spcAft>
            <a:buChar char="•"/>
          </a:pPr>
          <a:r>
            <a:rPr lang="en-US" sz="1600" kern="1200" dirty="0"/>
            <a:t>Desktop or Excel</a:t>
          </a:r>
        </a:p>
      </dsp:txBody>
      <dsp:txXfrm>
        <a:off x="230564" y="3476084"/>
        <a:ext cx="2077722" cy="1821246"/>
      </dsp:txXfrm>
    </dsp:sp>
    <dsp:sp modelId="{7892D8E5-7831-49CA-80E3-16F27E5F78B1}">
      <dsp:nvSpPr>
        <dsp:cNvPr id="0" name=""/>
        <dsp:cNvSpPr/>
      </dsp:nvSpPr>
      <dsp:spPr>
        <a:xfrm>
          <a:off x="1916264" y="2619027"/>
          <a:ext cx="392023" cy="392023"/>
        </a:xfrm>
        <a:prstGeom prst="triangle">
          <a:avLst>
            <a:gd name="adj" fmla="val 100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C21D07-3AE2-445D-8679-AAE5514D3CAC}">
      <dsp:nvSpPr>
        <dsp:cNvPr id="0" name=""/>
        <dsp:cNvSpPr/>
      </dsp:nvSpPr>
      <dsp:spPr>
        <a:xfrm rot="5400000">
          <a:off x="3004973" y="2159058"/>
          <a:ext cx="1383075" cy="2301406"/>
        </a:xfrm>
        <a:prstGeom prst="corner">
          <a:avLst>
            <a:gd name="adj1" fmla="val 16120"/>
            <a:gd name="adj2" fmla="val 1611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EDE421-90FB-41C5-B5BF-EDC1A5D9C31C}">
      <dsp:nvSpPr>
        <dsp:cNvPr id="0" name=""/>
        <dsp:cNvSpPr/>
      </dsp:nvSpPr>
      <dsp:spPr>
        <a:xfrm>
          <a:off x="2774103" y="2846683"/>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Promotion</a:t>
          </a:r>
        </a:p>
        <a:p>
          <a:pPr marL="171450" lvl="1" indent="-171450" algn="l" defTabSz="711200">
            <a:lnSpc>
              <a:spcPct val="90000"/>
            </a:lnSpc>
            <a:spcBef>
              <a:spcPct val="0"/>
            </a:spcBef>
            <a:spcAft>
              <a:spcPct val="15000"/>
            </a:spcAft>
            <a:buChar char="•"/>
          </a:pPr>
          <a:r>
            <a:rPr lang="en-US" sz="1600" kern="1200" dirty="0"/>
            <a:t>Gateway</a:t>
          </a:r>
        </a:p>
        <a:p>
          <a:pPr marL="171450" lvl="1" indent="-171450" algn="l" defTabSz="711200">
            <a:lnSpc>
              <a:spcPct val="90000"/>
            </a:lnSpc>
            <a:spcBef>
              <a:spcPct val="0"/>
            </a:spcBef>
            <a:spcAft>
              <a:spcPct val="15000"/>
            </a:spcAft>
            <a:buChar char="•"/>
          </a:pPr>
          <a:r>
            <a:rPr lang="en-US" sz="1600" kern="1200" dirty="0"/>
            <a:t>Scheduled refresh</a:t>
          </a:r>
        </a:p>
        <a:p>
          <a:pPr marL="171450" lvl="1" indent="-171450" algn="l" defTabSz="711200">
            <a:lnSpc>
              <a:spcPct val="90000"/>
            </a:lnSpc>
            <a:spcBef>
              <a:spcPct val="0"/>
            </a:spcBef>
            <a:spcAft>
              <a:spcPct val="15000"/>
            </a:spcAft>
            <a:buChar char="•"/>
          </a:pPr>
          <a:r>
            <a:rPr lang="en-US" sz="1600" kern="1200" dirty="0"/>
            <a:t>Theme</a:t>
          </a:r>
        </a:p>
      </dsp:txBody>
      <dsp:txXfrm>
        <a:off x="2774103" y="2846683"/>
        <a:ext cx="2077722" cy="1821246"/>
      </dsp:txXfrm>
    </dsp:sp>
    <dsp:sp modelId="{186E60F8-3613-42A3-8D7D-987F6AB990A6}">
      <dsp:nvSpPr>
        <dsp:cNvPr id="0" name=""/>
        <dsp:cNvSpPr/>
      </dsp:nvSpPr>
      <dsp:spPr>
        <a:xfrm>
          <a:off x="4459803" y="1989626"/>
          <a:ext cx="392023" cy="392023"/>
        </a:xfrm>
        <a:prstGeom prst="triangle">
          <a:avLst>
            <a:gd name="adj" fmla="val 100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BA1AA-898E-443B-B181-2F96741E6C15}">
      <dsp:nvSpPr>
        <dsp:cNvPr id="0" name=""/>
        <dsp:cNvSpPr/>
      </dsp:nvSpPr>
      <dsp:spPr>
        <a:xfrm rot="5400000">
          <a:off x="5548512" y="1529657"/>
          <a:ext cx="1383075" cy="2301406"/>
        </a:xfrm>
        <a:prstGeom prst="corner">
          <a:avLst>
            <a:gd name="adj1" fmla="val 16120"/>
            <a:gd name="adj2" fmla="val 1611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F030BD-263B-4E98-916E-530C9C7BE1F9}">
      <dsp:nvSpPr>
        <dsp:cNvPr id="0" name=""/>
        <dsp:cNvSpPr/>
      </dsp:nvSpPr>
      <dsp:spPr>
        <a:xfrm>
          <a:off x="5317642" y="2217282"/>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a:t>Preparation</a:t>
          </a:r>
          <a:endParaRPr lang="en-US" sz="2000" kern="1200" dirty="0"/>
        </a:p>
        <a:p>
          <a:pPr marL="171450" lvl="1" indent="-171450" algn="l" defTabSz="711200">
            <a:lnSpc>
              <a:spcPct val="90000"/>
            </a:lnSpc>
            <a:spcBef>
              <a:spcPct val="0"/>
            </a:spcBef>
            <a:spcAft>
              <a:spcPct val="15000"/>
            </a:spcAft>
            <a:buChar char="•"/>
          </a:pPr>
          <a:r>
            <a:rPr lang="en-US" sz="1600" kern="1200" dirty="0"/>
            <a:t>Data sources</a:t>
          </a:r>
        </a:p>
        <a:p>
          <a:pPr marL="171450" lvl="1" indent="-171450" algn="l" defTabSz="711200">
            <a:lnSpc>
              <a:spcPct val="90000"/>
            </a:lnSpc>
            <a:spcBef>
              <a:spcPct val="0"/>
            </a:spcBef>
            <a:spcAft>
              <a:spcPct val="15000"/>
            </a:spcAft>
            <a:buChar char="•"/>
          </a:pPr>
          <a:r>
            <a:rPr lang="en-US" sz="1600" kern="1200" dirty="0"/>
            <a:t>Documentation</a:t>
          </a:r>
        </a:p>
        <a:p>
          <a:pPr marL="171450" lvl="1" indent="-171450" algn="l" defTabSz="711200">
            <a:lnSpc>
              <a:spcPct val="90000"/>
            </a:lnSpc>
            <a:spcBef>
              <a:spcPct val="0"/>
            </a:spcBef>
            <a:spcAft>
              <a:spcPct val="15000"/>
            </a:spcAft>
            <a:buChar char="•"/>
          </a:pPr>
          <a:r>
            <a:rPr lang="en-US" sz="1600" kern="1200" dirty="0"/>
            <a:t>Ownership</a:t>
          </a:r>
        </a:p>
      </dsp:txBody>
      <dsp:txXfrm>
        <a:off x="5317642" y="2217282"/>
        <a:ext cx="2077722" cy="1821246"/>
      </dsp:txXfrm>
    </dsp:sp>
    <dsp:sp modelId="{4A235F80-B814-470E-8989-4207188E13E9}">
      <dsp:nvSpPr>
        <dsp:cNvPr id="0" name=""/>
        <dsp:cNvSpPr/>
      </dsp:nvSpPr>
      <dsp:spPr>
        <a:xfrm>
          <a:off x="7003342" y="1360225"/>
          <a:ext cx="392023" cy="392023"/>
        </a:xfrm>
        <a:prstGeom prst="triangle">
          <a:avLst>
            <a:gd name="adj" fmla="val 100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0BB8F0-AA1B-4AE3-A053-53E3B9E68528}">
      <dsp:nvSpPr>
        <dsp:cNvPr id="0" name=""/>
        <dsp:cNvSpPr/>
      </dsp:nvSpPr>
      <dsp:spPr>
        <a:xfrm rot="5400000">
          <a:off x="8092050" y="900256"/>
          <a:ext cx="1383075" cy="2301406"/>
        </a:xfrm>
        <a:prstGeom prst="corner">
          <a:avLst>
            <a:gd name="adj1" fmla="val 16120"/>
            <a:gd name="adj2" fmla="val 1611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9F8A5C-6F87-4A8F-9088-B91AF7F36E87}">
      <dsp:nvSpPr>
        <dsp:cNvPr id="0" name=""/>
        <dsp:cNvSpPr/>
      </dsp:nvSpPr>
      <dsp:spPr>
        <a:xfrm>
          <a:off x="7861181" y="1587881"/>
          <a:ext cx="2077722" cy="18212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t>Operationalization</a:t>
          </a:r>
        </a:p>
        <a:p>
          <a:pPr marL="171450" lvl="1" indent="-171450" algn="l" defTabSz="711200">
            <a:lnSpc>
              <a:spcPct val="90000"/>
            </a:lnSpc>
            <a:spcBef>
              <a:spcPct val="0"/>
            </a:spcBef>
            <a:spcAft>
              <a:spcPct val="15000"/>
            </a:spcAft>
            <a:buChar char="•"/>
          </a:pPr>
          <a:r>
            <a:rPr lang="en-US" sz="1600" kern="1200" dirty="0"/>
            <a:t>Prod workspace</a:t>
          </a:r>
        </a:p>
        <a:p>
          <a:pPr marL="171450" lvl="1" indent="-171450" algn="l" defTabSz="711200">
            <a:lnSpc>
              <a:spcPct val="90000"/>
            </a:lnSpc>
            <a:spcBef>
              <a:spcPct val="0"/>
            </a:spcBef>
            <a:spcAft>
              <a:spcPct val="15000"/>
            </a:spcAft>
            <a:buChar char="•"/>
          </a:pPr>
          <a:r>
            <a:rPr lang="en-US" sz="1600" kern="1200" dirty="0"/>
            <a:t>Full support</a:t>
          </a:r>
        </a:p>
        <a:p>
          <a:pPr marL="171450" lvl="1" indent="-171450" algn="l" defTabSz="711200">
            <a:lnSpc>
              <a:spcPct val="90000"/>
            </a:lnSpc>
            <a:spcBef>
              <a:spcPct val="0"/>
            </a:spcBef>
            <a:spcAft>
              <a:spcPct val="15000"/>
            </a:spcAft>
            <a:buChar char="•"/>
          </a:pPr>
          <a:r>
            <a:rPr lang="en-US" sz="1600" kern="1200" dirty="0"/>
            <a:t>SLA</a:t>
          </a:r>
        </a:p>
      </dsp:txBody>
      <dsp:txXfrm>
        <a:off x="7861181" y="1587881"/>
        <a:ext cx="2077722" cy="1821246"/>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15.36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31,'4'-3,"-1"0,1 1,0-1,0 1,0 0,0 0,1 1,-1-1,0 1,1 0,-1 0,6-1,61-1,-51 2,770 0,-383 3,-310-3,-18-1,150 16,-72 3,-126-1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18.34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60,'6'-4,"0"0,1 1,-1 0,1 0,0 1,0-1,-1 1,2 1,-1-1,0 1,0 1,9-1,14-2,64-10,114-1,99 15,-114 1,1568-2,-1776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30.18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9,'2652'0,"-2577"4,118 21,46 3,339-27,-283-3,387 2,-495-14,-13-1,85-5,-255 19,143-7,14-1,7-6,238 11,-207 6,33-4,267 5,-327 10,71 2,-168-15,160 3,-187 1,-1 1,91 24,-84-16,2-1,-1-3,1-2,101-2,1105-8,-782 3,-445-2,0-1,-1-2,50-14,-48 10,1 1,67-5,395 13,-223 2,651-2,-886-3,0-1,0-2,0-2,57-20,-7 4,-17 12,-63 1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8T13:11:33.16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5,'4'-3,"-1"1,1 0,0 0,-1 0,1 0,0 1,0 0,1-1,-1 1,0 1,0-1,5 0,14-3,56-17,-42 10,77-13,164 16,-11 1,551-12,-542 21,43 15,-39-8,-80-6,11 24,-144-15,112 5,291-18,-442-1,51-8,-50 5,5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65E631-EC6C-4D82-A71C-0148F5F37482}" type="datetimeFigureOut">
              <a:rPr lang="en-US" smtClean="0"/>
              <a:t>12/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6A3605-7A28-403B-8AF8-3C2A1E66453A}" type="slidenum">
              <a:rPr lang="en-US" smtClean="0"/>
              <a:t>‹#›</a:t>
            </a:fld>
            <a:endParaRPr lang="en-US"/>
          </a:p>
        </p:txBody>
      </p:sp>
    </p:spTree>
    <p:extLst>
      <p:ext uri="{BB962C8B-B14F-4D97-AF65-F5344CB8AC3E}">
        <p14:creationId xmlns:p14="http://schemas.microsoft.com/office/powerpoint/2010/main" val="2936207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goodreads.com/work/quotes/570642"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sbipolar.com/2019/10/26/it-all-comes-down-to-cultur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 shots from https://duckduckgo.com/?q=define%3A+culture&amp;ia=definition and https://duckduckgo.com/?q=define+%22data+culture%22&amp;ia=web</a:t>
            </a:r>
          </a:p>
        </p:txBody>
      </p:sp>
      <p:sp>
        <p:nvSpPr>
          <p:cNvPr id="4" name="Slide Number Placeholder 3"/>
          <p:cNvSpPr>
            <a:spLocks noGrp="1"/>
          </p:cNvSpPr>
          <p:nvPr>
            <p:ph type="sldNum" sz="quarter" idx="5"/>
          </p:nvPr>
        </p:nvSpPr>
        <p:spPr/>
        <p:txBody>
          <a:bodyPr/>
          <a:lstStyle/>
          <a:p>
            <a:fld id="{7E6A3605-7A28-403B-8AF8-3C2A1E66453A}" type="slidenum">
              <a:rPr lang="en-US" smtClean="0"/>
              <a:t>7</a:t>
            </a:fld>
            <a:endParaRPr lang="en-US"/>
          </a:p>
        </p:txBody>
      </p:sp>
    </p:spTree>
    <p:extLst>
      <p:ext uri="{BB962C8B-B14F-4D97-AF65-F5344CB8AC3E}">
        <p14:creationId xmlns:p14="http://schemas.microsoft.com/office/powerpoint/2010/main" val="2152255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6A3605-7A28-403B-8AF8-3C2A1E66453A}" type="slidenum">
              <a:rPr lang="en-US" smtClean="0"/>
              <a:t>29</a:t>
            </a:fld>
            <a:endParaRPr lang="en-US"/>
          </a:p>
        </p:txBody>
      </p:sp>
    </p:spTree>
    <p:extLst>
      <p:ext uri="{BB962C8B-B14F-4D97-AF65-F5344CB8AC3E}">
        <p14:creationId xmlns:p14="http://schemas.microsoft.com/office/powerpoint/2010/main" val="2861580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microsoft.com/en-us/power-bi/guidance/powerbi-adoption-roadmap-overview </a:t>
            </a:r>
          </a:p>
        </p:txBody>
      </p:sp>
      <p:sp>
        <p:nvSpPr>
          <p:cNvPr id="4" name="Slide Number Placeholder 3"/>
          <p:cNvSpPr>
            <a:spLocks noGrp="1"/>
          </p:cNvSpPr>
          <p:nvPr>
            <p:ph type="sldNum" sz="quarter" idx="5"/>
          </p:nvPr>
        </p:nvSpPr>
        <p:spPr/>
        <p:txBody>
          <a:bodyPr/>
          <a:lstStyle/>
          <a:p>
            <a:fld id="{7E6A3605-7A28-403B-8AF8-3C2A1E66453A}" type="slidenum">
              <a:rPr lang="en-US" smtClean="0"/>
              <a:t>30</a:t>
            </a:fld>
            <a:endParaRPr lang="en-US"/>
          </a:p>
        </p:txBody>
      </p:sp>
    </p:spTree>
    <p:extLst>
      <p:ext uri="{BB962C8B-B14F-4D97-AF65-F5344CB8AC3E}">
        <p14:creationId xmlns:p14="http://schemas.microsoft.com/office/powerpoint/2010/main" val="2316686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 shots from https://duckduckgo.com/?q=define%3A+culture&amp;ia=definition and https://duckduckgo.com/?q=define+%22data+culture%22&amp;ia=web</a:t>
            </a:r>
          </a:p>
        </p:txBody>
      </p:sp>
      <p:sp>
        <p:nvSpPr>
          <p:cNvPr id="4" name="Slide Number Placeholder 3"/>
          <p:cNvSpPr>
            <a:spLocks noGrp="1"/>
          </p:cNvSpPr>
          <p:nvPr>
            <p:ph type="sldNum" sz="quarter" idx="5"/>
          </p:nvPr>
        </p:nvSpPr>
        <p:spPr/>
        <p:txBody>
          <a:bodyPr/>
          <a:lstStyle/>
          <a:p>
            <a:fld id="{7E6A3605-7A28-403B-8AF8-3C2A1E66453A}" type="slidenum">
              <a:rPr lang="en-US" smtClean="0"/>
              <a:t>8</a:t>
            </a:fld>
            <a:endParaRPr lang="en-US"/>
          </a:p>
        </p:txBody>
      </p:sp>
    </p:spTree>
    <p:extLst>
      <p:ext uri="{BB962C8B-B14F-4D97-AF65-F5344CB8AC3E}">
        <p14:creationId xmlns:p14="http://schemas.microsoft.com/office/powerpoint/2010/main" val="3684948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asy part is technology</a:t>
            </a:r>
          </a:p>
        </p:txBody>
      </p:sp>
      <p:sp>
        <p:nvSpPr>
          <p:cNvPr id="4" name="Slide Number Placeholder 3"/>
          <p:cNvSpPr>
            <a:spLocks noGrp="1"/>
          </p:cNvSpPr>
          <p:nvPr>
            <p:ph type="sldNum" sz="quarter" idx="5"/>
          </p:nvPr>
        </p:nvSpPr>
        <p:spPr/>
        <p:txBody>
          <a:bodyPr/>
          <a:lstStyle/>
          <a:p>
            <a:fld id="{7E6A3605-7A28-403B-8AF8-3C2A1E66453A}" type="slidenum">
              <a:rPr lang="en-US" smtClean="0"/>
              <a:t>14</a:t>
            </a:fld>
            <a:endParaRPr lang="en-US"/>
          </a:p>
        </p:txBody>
      </p:sp>
    </p:spTree>
    <p:extLst>
      <p:ext uri="{BB962C8B-B14F-4D97-AF65-F5344CB8AC3E}">
        <p14:creationId xmlns:p14="http://schemas.microsoft.com/office/powerpoint/2010/main" val="945533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AEB2D09C-E420-4905-8E74-B16C64801357}" type="slidenum">
              <a:rPr lang="en-US" smtClean="0"/>
              <a:t>15</a:t>
            </a:fld>
            <a:endParaRPr lang="en-US"/>
          </a:p>
        </p:txBody>
      </p:sp>
    </p:spTree>
    <p:extLst>
      <p:ext uri="{BB962C8B-B14F-4D97-AF65-F5344CB8AC3E}">
        <p14:creationId xmlns:p14="http://schemas.microsoft.com/office/powerpoint/2010/main" val="2352422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2971800" cy="458788"/>
          </a:xfrm>
          <a:prstGeom prst="rect">
            <a:avLst/>
          </a:prstGeom>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Confidential / For INTERNAL USE ONL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822C777-095B-472B-AFF0-3D51EB8B9C0D}" type="datetime1">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8/202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45838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ard part, like Soylent Green, is people</a:t>
            </a:r>
          </a:p>
        </p:txBody>
      </p:sp>
      <p:sp>
        <p:nvSpPr>
          <p:cNvPr id="4" name="Slide Number Placeholder 3"/>
          <p:cNvSpPr>
            <a:spLocks noGrp="1"/>
          </p:cNvSpPr>
          <p:nvPr>
            <p:ph type="sldNum" sz="quarter" idx="5"/>
          </p:nvPr>
        </p:nvSpPr>
        <p:spPr/>
        <p:txBody>
          <a:bodyPr/>
          <a:lstStyle/>
          <a:p>
            <a:fld id="{7E6A3605-7A28-403B-8AF8-3C2A1E66453A}" type="slidenum">
              <a:rPr lang="en-US" smtClean="0"/>
              <a:t>20</a:t>
            </a:fld>
            <a:endParaRPr lang="en-US"/>
          </a:p>
        </p:txBody>
      </p:sp>
    </p:spTree>
    <p:extLst>
      <p:ext uri="{BB962C8B-B14F-4D97-AF65-F5344CB8AC3E}">
        <p14:creationId xmlns:p14="http://schemas.microsoft.com/office/powerpoint/2010/main" val="2517091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goodreads.com/quotes/9353506-a-complex-system-that-works-is-invariably-found-to-have</a:t>
            </a:r>
          </a:p>
          <a:p>
            <a:endParaRPr lang="en-US" dirty="0"/>
          </a:p>
          <a:p>
            <a:pPr algn="l"/>
            <a:r>
              <a:rPr lang="en-US" b="0" i="0" dirty="0">
                <a:solidFill>
                  <a:srgbClr val="181818"/>
                </a:solidFill>
                <a:effectLst/>
                <a:latin typeface="Merriweather"/>
              </a:rPr>
              <a:t>“A complex system that works is invariably found to have evolved from a simple system that works. The inverse proposition also appears to be true: A complex system designed from scratch never works and cannot be made to work.”</a:t>
            </a:r>
          </a:p>
          <a:p>
            <a:br>
              <a:rPr lang="en-US" dirty="0"/>
            </a:br>
            <a:r>
              <a:rPr lang="en-US" b="0" i="0" dirty="0">
                <a:solidFill>
                  <a:srgbClr val="181818"/>
                </a:solidFill>
                <a:effectLst/>
                <a:latin typeface="Merriweather"/>
              </a:rPr>
              <a:t>― </a:t>
            </a:r>
            <a:r>
              <a:rPr lang="en-US" b="1" i="0" dirty="0">
                <a:solidFill>
                  <a:srgbClr val="333333"/>
                </a:solidFill>
                <a:effectLst/>
                <a:latin typeface="Lato"/>
              </a:rPr>
              <a:t>John Gall, </a:t>
            </a:r>
            <a:r>
              <a:rPr lang="en-US" b="1" i="0" u="none" strike="noStrike" dirty="0">
                <a:solidFill>
                  <a:srgbClr val="333333"/>
                </a:solidFill>
                <a:effectLst/>
                <a:latin typeface="Lato"/>
                <a:hlinkClick r:id="rId3"/>
              </a:rPr>
              <a:t>The Systems Bible: The Beginner's Guide to Systems Large and Small: Being the Third Edition of </a:t>
            </a:r>
            <a:r>
              <a:rPr lang="en-US" b="1" i="0" u="none" strike="noStrike" dirty="0" err="1">
                <a:solidFill>
                  <a:srgbClr val="333333"/>
                </a:solidFill>
                <a:effectLst/>
                <a:latin typeface="Lato"/>
                <a:hlinkClick r:id="rId3"/>
              </a:rPr>
              <a:t>Systemantics</a:t>
            </a:r>
            <a:endParaRPr lang="en-US" dirty="0"/>
          </a:p>
        </p:txBody>
      </p:sp>
      <p:sp>
        <p:nvSpPr>
          <p:cNvPr id="4" name="Slide Number Placeholder 3"/>
          <p:cNvSpPr>
            <a:spLocks noGrp="1"/>
          </p:cNvSpPr>
          <p:nvPr>
            <p:ph type="sldNum" sz="quarter" idx="5"/>
          </p:nvPr>
        </p:nvSpPr>
        <p:spPr/>
        <p:txBody>
          <a:bodyPr/>
          <a:lstStyle/>
          <a:p>
            <a:fld id="{7E6A3605-7A28-403B-8AF8-3C2A1E66453A}" type="slidenum">
              <a:rPr lang="en-US" smtClean="0"/>
              <a:t>25</a:t>
            </a:fld>
            <a:endParaRPr lang="en-US"/>
          </a:p>
        </p:txBody>
      </p:sp>
    </p:spTree>
    <p:extLst>
      <p:ext uri="{BB962C8B-B14F-4D97-AF65-F5344CB8AC3E}">
        <p14:creationId xmlns:p14="http://schemas.microsoft.com/office/powerpoint/2010/main" val="1618843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davidbrim.com/sun-tzu-lessons-on-strategy/</a:t>
            </a:r>
          </a:p>
          <a:p>
            <a:endParaRPr lang="en-US" dirty="0"/>
          </a:p>
          <a:p>
            <a:r>
              <a:rPr lang="en-US" dirty="0"/>
              <a:t>https://www.brainyquote.com/authors/sun-tzu-quotes</a:t>
            </a:r>
          </a:p>
          <a:p>
            <a:endParaRPr lang="en-US" dirty="0"/>
          </a:p>
          <a:p>
            <a:r>
              <a:rPr lang="en-US" dirty="0"/>
              <a:t>https://www.goodreads.com/author/quotes/1771.Sun_Tzu</a:t>
            </a:r>
          </a:p>
        </p:txBody>
      </p:sp>
      <p:sp>
        <p:nvSpPr>
          <p:cNvPr id="4" name="Slide Number Placeholder 3"/>
          <p:cNvSpPr>
            <a:spLocks noGrp="1"/>
          </p:cNvSpPr>
          <p:nvPr>
            <p:ph type="sldNum" sz="quarter" idx="5"/>
          </p:nvPr>
        </p:nvSpPr>
        <p:spPr/>
        <p:txBody>
          <a:bodyPr/>
          <a:lstStyle/>
          <a:p>
            <a:fld id="{35ACAA4C-E262-449B-BB92-0A9708B5DD99}" type="slidenum">
              <a:rPr lang="en-US" smtClean="0"/>
              <a:t>26</a:t>
            </a:fld>
            <a:endParaRPr lang="en-US"/>
          </a:p>
        </p:txBody>
      </p:sp>
    </p:spTree>
    <p:extLst>
      <p:ext uri="{BB962C8B-B14F-4D97-AF65-F5344CB8AC3E}">
        <p14:creationId xmlns:p14="http://schemas.microsoft.com/office/powerpoint/2010/main" val="41144277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You have a unique starting point</a:t>
            </a:r>
          </a:p>
          <a:p>
            <a:pPr marL="171450" indent="-171450">
              <a:buFont typeface="Arial" panose="020B0604020202020204" pitchFamily="34" charset="0"/>
              <a:buChar char="•"/>
            </a:pPr>
            <a:r>
              <a:rPr lang="en-US" dirty="0"/>
              <a:t>You have a unique destination </a:t>
            </a:r>
          </a:p>
          <a:p>
            <a:pPr marL="171450" indent="-171450">
              <a:buFont typeface="Arial" panose="020B0604020202020204" pitchFamily="34" charset="0"/>
              <a:buChar char="•"/>
            </a:pPr>
            <a:r>
              <a:rPr lang="en-US" dirty="0"/>
              <a:t>You have a unique set of resources</a:t>
            </a:r>
          </a:p>
          <a:p>
            <a:pPr marL="171450" indent="-171450">
              <a:buFont typeface="Arial" panose="020B0604020202020204" pitchFamily="34" charset="0"/>
              <a:buChar char="•"/>
            </a:pPr>
            <a:r>
              <a:rPr lang="en-US" dirty="0"/>
              <a:t>You have a unique set of constraints</a:t>
            </a:r>
          </a:p>
          <a:p>
            <a:pPr marL="171450" indent="-171450">
              <a:buFont typeface="Arial" panose="020B0604020202020204" pitchFamily="34" charset="0"/>
              <a:buChar char="•"/>
            </a:pPr>
            <a:r>
              <a:rPr lang="en-US" dirty="0"/>
              <a:t>You have a unique and constantly-changing landscape to navigate</a:t>
            </a:r>
          </a:p>
          <a:p>
            <a:pPr marL="171450" indent="-171450">
              <a:buFont typeface="Arial" panose="020B0604020202020204" pitchFamily="34" charset="0"/>
              <a:buChar char="•"/>
            </a:pPr>
            <a:r>
              <a:rPr lang="en-US" dirty="0"/>
              <a:t>Do you have an executive sponsor?</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hlinkClick r:id="rId3"/>
              </a:rPr>
              <a:t>It all comes down to culture – BI Polar (ssbipolar.com)</a:t>
            </a:r>
            <a:endParaRPr lang="en-US" dirty="0"/>
          </a:p>
        </p:txBody>
      </p:sp>
      <p:sp>
        <p:nvSpPr>
          <p:cNvPr id="4" name="Slide Number Placeholder 3"/>
          <p:cNvSpPr>
            <a:spLocks noGrp="1"/>
          </p:cNvSpPr>
          <p:nvPr>
            <p:ph type="sldNum" sz="quarter" idx="5"/>
          </p:nvPr>
        </p:nvSpPr>
        <p:spPr/>
        <p:txBody>
          <a:bodyPr/>
          <a:lstStyle/>
          <a:p>
            <a:fld id="{7E6A3605-7A28-403B-8AF8-3C2A1E66453A}" type="slidenum">
              <a:rPr lang="en-US" smtClean="0"/>
              <a:t>27</a:t>
            </a:fld>
            <a:endParaRPr lang="en-US"/>
          </a:p>
        </p:txBody>
      </p:sp>
    </p:spTree>
    <p:extLst>
      <p:ext uri="{BB962C8B-B14F-4D97-AF65-F5344CB8AC3E}">
        <p14:creationId xmlns:p14="http://schemas.microsoft.com/office/powerpoint/2010/main" val="41252271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A435CB-BF44-4C26-8BB4-E0ED0FFEE9C9}"/>
              </a:ext>
            </a:extLst>
          </p:cNvPr>
          <p:cNvSpPr/>
          <p:nvPr userDrawn="1"/>
        </p:nvSpPr>
        <p:spPr>
          <a:xfrm>
            <a:off x="7094871" y="7883"/>
            <a:ext cx="5097129" cy="6858000"/>
          </a:xfrm>
          <a:prstGeom prst="rect">
            <a:avLst/>
          </a:prstGeom>
          <a:solidFill>
            <a:srgbClr val="23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2">
            <a:extLst>
              <a:ext uri="{FF2B5EF4-FFF2-40B4-BE49-F238E27FC236}">
                <a16:creationId xmlns:a16="http://schemas.microsoft.com/office/drawing/2014/main" id="{6AF6BBA1-51DB-4079-9DE9-9220A8760950}"/>
              </a:ext>
            </a:extLst>
          </p:cNvPr>
          <p:cNvCxnSpPr>
            <a:cxnSpLocks/>
          </p:cNvCxnSpPr>
          <p:nvPr userDrawn="1"/>
        </p:nvCxnSpPr>
        <p:spPr>
          <a:xfrm>
            <a:off x="9639762" y="2460855"/>
            <a:ext cx="0" cy="4023360"/>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888BA84-2F0D-48D5-997F-6DCC58807AD5}"/>
              </a:ext>
            </a:extLst>
          </p:cNvPr>
          <p:cNvCxnSpPr>
            <a:cxnSpLocks/>
          </p:cNvCxnSpPr>
          <p:nvPr userDrawn="1"/>
        </p:nvCxnSpPr>
        <p:spPr>
          <a:xfrm rot="5400000">
            <a:off x="9551633" y="3154326"/>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D0C72BF-E8E7-41A4-AF08-2243F46CA4BA}"/>
              </a:ext>
            </a:extLst>
          </p:cNvPr>
          <p:cNvSpPr txBox="1"/>
          <p:nvPr userDrawn="1"/>
        </p:nvSpPr>
        <p:spPr>
          <a:xfrm>
            <a:off x="7153479" y="296425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EVANGELIZATION</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drive significant product awareness across many different channels</a:t>
            </a:r>
          </a:p>
        </p:txBody>
      </p:sp>
      <p:sp>
        <p:nvSpPr>
          <p:cNvPr id="6" name="TextBox 5">
            <a:extLst>
              <a:ext uri="{FF2B5EF4-FFF2-40B4-BE49-F238E27FC236}">
                <a16:creationId xmlns:a16="http://schemas.microsoft.com/office/drawing/2014/main" id="{8E98915F-6BB5-4544-98CC-0C2E1FF27425}"/>
              </a:ext>
            </a:extLst>
          </p:cNvPr>
          <p:cNvSpPr txBox="1"/>
          <p:nvPr userDrawn="1"/>
        </p:nvSpPr>
        <p:spPr>
          <a:xfrm>
            <a:off x="9693180" y="296425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ATTERNS &amp; </a:t>
            </a:r>
          </a:p>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ACTICES</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curate “How-to” &amp; “Best practices” content  for Power BI  </a:t>
            </a:r>
          </a:p>
        </p:txBody>
      </p:sp>
      <p:sp>
        <p:nvSpPr>
          <p:cNvPr id="7" name="TextBox 6">
            <a:extLst>
              <a:ext uri="{FF2B5EF4-FFF2-40B4-BE49-F238E27FC236}">
                <a16:creationId xmlns:a16="http://schemas.microsoft.com/office/drawing/2014/main" id="{8A67111A-BE20-4222-8566-C58CE8D4ABFA}"/>
              </a:ext>
            </a:extLst>
          </p:cNvPr>
          <p:cNvSpPr txBox="1"/>
          <p:nvPr userDrawn="1"/>
        </p:nvSpPr>
        <p:spPr>
          <a:xfrm>
            <a:off x="7153468" y="4880769"/>
            <a:ext cx="2438395" cy="147732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FIELD &amp; PARTNER ENABL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enable thousands of sellers/partners to drive revenue, satisfaction and adoption </a:t>
            </a:r>
          </a:p>
        </p:txBody>
      </p:sp>
      <p:sp>
        <p:nvSpPr>
          <p:cNvPr id="8" name="TextBox 7">
            <a:extLst>
              <a:ext uri="{FF2B5EF4-FFF2-40B4-BE49-F238E27FC236}">
                <a16:creationId xmlns:a16="http://schemas.microsoft.com/office/drawing/2014/main" id="{35D4C7DD-F7C7-4483-ABBC-3EAED93082EB}"/>
              </a:ext>
            </a:extLst>
          </p:cNvPr>
          <p:cNvSpPr txBox="1"/>
          <p:nvPr userDrawn="1"/>
        </p:nvSpPr>
        <p:spPr>
          <a:xfrm>
            <a:off x="9702194" y="4880769"/>
            <a:ext cx="2438395" cy="154144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ODUCT   FEEDBACK</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influence the product roadmap through engineering feedback rhythms</a:t>
            </a:r>
          </a:p>
        </p:txBody>
      </p:sp>
      <p:cxnSp>
        <p:nvCxnSpPr>
          <p:cNvPr id="9" name="Straight Connector 8">
            <a:extLst>
              <a:ext uri="{FF2B5EF4-FFF2-40B4-BE49-F238E27FC236}">
                <a16:creationId xmlns:a16="http://schemas.microsoft.com/office/drawing/2014/main" id="{8C0D4294-5ED6-4331-B893-054AAA6D0F4E}"/>
              </a:ext>
            </a:extLst>
          </p:cNvPr>
          <p:cNvCxnSpPr>
            <a:cxnSpLocks/>
          </p:cNvCxnSpPr>
          <p:nvPr userDrawn="1"/>
        </p:nvCxnSpPr>
        <p:spPr>
          <a:xfrm rot="5400000">
            <a:off x="10095131" y="894918"/>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1C70A4F-51B0-479A-818E-FABA33ABB097}"/>
              </a:ext>
            </a:extLst>
          </p:cNvPr>
          <p:cNvSpPr txBox="1"/>
          <p:nvPr userDrawn="1"/>
        </p:nvSpPr>
        <p:spPr>
          <a:xfrm>
            <a:off x="8008403" y="1038542"/>
            <a:ext cx="3092607" cy="124649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CUSTOMER ENGAG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remove deep technical issues to drive revenue, satisfaction, and adoption from our top customers</a:t>
            </a:r>
          </a:p>
        </p:txBody>
      </p:sp>
    </p:spTree>
    <p:extLst>
      <p:ext uri="{BB962C8B-B14F-4D97-AF65-F5344CB8AC3E}">
        <p14:creationId xmlns:p14="http://schemas.microsoft.com/office/powerpoint/2010/main" val="96257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400"/>
                                        <p:tgtEl>
                                          <p:spTgt spid="5"/>
                                        </p:tgtEl>
                                      </p:cBhvr>
                                    </p:animEffect>
                                  </p:childTnLst>
                                </p:cTn>
                              </p:par>
                            </p:childTnLst>
                          </p:cTn>
                        </p:par>
                        <p:par>
                          <p:cTn id="8" fill="hold">
                            <p:stCondLst>
                              <p:cond delay="4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400"/>
                                        <p:tgtEl>
                                          <p:spTgt spid="6"/>
                                        </p:tgtEl>
                                      </p:cBhvr>
                                    </p:animEffect>
                                  </p:childTnLst>
                                </p:cTn>
                              </p:par>
                            </p:childTnLst>
                          </p:cTn>
                        </p:par>
                        <p:par>
                          <p:cTn id="12" fill="hold">
                            <p:stCondLst>
                              <p:cond delay="800"/>
                            </p:stCondLst>
                            <p:childTnLst>
                              <p:par>
                                <p:cTn id="13" presetID="22" presetClass="entr" presetSubtype="8"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400"/>
                                        <p:tgtEl>
                                          <p:spTgt spid="7"/>
                                        </p:tgtEl>
                                      </p:cBhvr>
                                    </p:animEffect>
                                  </p:childTnLst>
                                </p:cTn>
                              </p:par>
                            </p:childTnLst>
                          </p:cTn>
                        </p:par>
                        <p:par>
                          <p:cTn id="16" fill="hold">
                            <p:stCondLst>
                              <p:cond delay="1200"/>
                            </p:stCondLst>
                            <p:childTnLst>
                              <p:par>
                                <p:cTn id="17" presetID="22" presetClass="entr" presetSubtype="8"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400"/>
                                        <p:tgtEl>
                                          <p:spTgt spid="8"/>
                                        </p:tgtEl>
                                      </p:cBhvr>
                                    </p:animEffect>
                                  </p:childTnLst>
                                </p:cTn>
                              </p:par>
                            </p:childTnLst>
                          </p:cTn>
                        </p:par>
                        <p:par>
                          <p:cTn id="20" fill="hold">
                            <p:stCondLst>
                              <p:cond delay="1600"/>
                            </p:stCondLst>
                            <p:childTnLst>
                              <p:par>
                                <p:cTn id="21" presetID="22" presetClass="entr" presetSubtype="8"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left)">
                                      <p:cBhvr>
                                        <p:cTn id="23" dur="4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2">
            <a:extLst>
              <a:ext uri="{FF2B5EF4-FFF2-40B4-BE49-F238E27FC236}">
                <a16:creationId xmlns:a16="http://schemas.microsoft.com/office/drawing/2014/main" id="{1AD61442-DD2F-43C4-B591-60744006752D}"/>
              </a:ext>
            </a:extLst>
          </p:cNvPr>
          <p:cNvSpPr>
            <a:spLocks noGrp="1"/>
          </p:cNvSpPr>
          <p:nvPr>
            <p:ph type="title" hasCustomPrompt="1"/>
          </p:nvPr>
        </p:nvSpPr>
        <p:spPr>
          <a:xfrm>
            <a:off x="711200" y="3092191"/>
            <a:ext cx="10798629" cy="1412220"/>
          </a:xfrm>
        </p:spPr>
        <p:txBody>
          <a:bodyPr>
            <a:noAutofit/>
          </a:bodyPr>
          <a:lstStyle>
            <a:lvl1pPr>
              <a:defRPr sz="7200">
                <a:solidFill>
                  <a:schemeClr val="tx1"/>
                </a:solidFill>
              </a:defRPr>
            </a:lvl1pPr>
          </a:lstStyle>
          <a:p>
            <a:r>
              <a:rPr lang="en-US" dirty="0"/>
              <a:t>Section title</a:t>
            </a:r>
          </a:p>
        </p:txBody>
      </p:sp>
    </p:spTree>
    <p:extLst>
      <p:ext uri="{BB962C8B-B14F-4D97-AF65-F5344CB8AC3E}">
        <p14:creationId xmlns:p14="http://schemas.microsoft.com/office/powerpoint/2010/main" val="271319346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2">
            <a:extLst>
              <a:ext uri="{FF2B5EF4-FFF2-40B4-BE49-F238E27FC236}">
                <a16:creationId xmlns:a16="http://schemas.microsoft.com/office/drawing/2014/main" id="{3F0B77CB-82BA-4D4A-AAE0-D5A413A86314}"/>
              </a:ext>
            </a:extLst>
          </p:cNvPr>
          <p:cNvSpPr>
            <a:spLocks noGrp="1"/>
          </p:cNvSpPr>
          <p:nvPr>
            <p:ph type="title" hasCustomPrompt="1"/>
          </p:nvPr>
        </p:nvSpPr>
        <p:spPr>
          <a:xfrm>
            <a:off x="711200" y="3090672"/>
            <a:ext cx="10798629" cy="1412220"/>
          </a:xfrm>
        </p:spPr>
        <p:txBody>
          <a:bodyPr>
            <a:noAutofit/>
          </a:bodyPr>
          <a:lstStyle>
            <a:lvl1pPr>
              <a:defRPr sz="7200">
                <a:solidFill>
                  <a:schemeClr val="tx1"/>
                </a:solidFill>
              </a:defRPr>
            </a:lvl1pPr>
          </a:lstStyle>
          <a:p>
            <a:r>
              <a:rPr lang="en-US" dirty="0"/>
              <a:t>Section title</a:t>
            </a:r>
          </a:p>
        </p:txBody>
      </p:sp>
    </p:spTree>
    <p:extLst>
      <p:ext uri="{BB962C8B-B14F-4D97-AF65-F5344CB8AC3E}">
        <p14:creationId xmlns:p14="http://schemas.microsoft.com/office/powerpoint/2010/main" val="333858790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6457B-57D7-456D-BCEA-489049DA7E1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9068735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667656" y="1373872"/>
            <a:ext cx="10871200"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mn-lt"/>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mn-lt"/>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mn-lt"/>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mn-lt"/>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193410"/>
            <a:ext cx="12192001" cy="66459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mn-lt"/>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13384851"/>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43D68-5364-4CFF-B22E-DCDF7ABA3F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561741-67AE-4C93-A9E2-1AA3EC80E3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A3B4D7-0E28-46DE-B6E9-2EA90F34D2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135757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651F6-1A85-4CB5-B803-800B316559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CB9DAB-75A3-419D-AC0D-CC469DF1A2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CF74E0-5310-40FB-9465-AFA31022C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4132168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337E2-1D45-4877-831B-40B22696EB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D46206-47C1-4571-AC0A-69333533814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808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2EA9C1-A9B5-4982-941C-838EF6862A3C}"/>
              </a:ext>
            </a:extLst>
          </p:cNvPr>
          <p:cNvSpPr>
            <a:spLocks noGrp="1"/>
          </p:cNvSpPr>
          <p:nvPr>
            <p:ph type="title" orient="vert"/>
          </p:nvPr>
        </p:nvSpPr>
        <p:spPr>
          <a:xfrm>
            <a:off x="8724900" y="365125"/>
            <a:ext cx="2628900" cy="5411561"/>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BECB87-D4B2-41D7-8FCB-76DDC346C77A}"/>
              </a:ext>
            </a:extLst>
          </p:cNvPr>
          <p:cNvSpPr>
            <a:spLocks noGrp="1"/>
          </p:cNvSpPr>
          <p:nvPr>
            <p:ph type="body" orient="vert" idx="1"/>
          </p:nvPr>
        </p:nvSpPr>
        <p:spPr>
          <a:xfrm>
            <a:off x="838200" y="365125"/>
            <a:ext cx="7734300" cy="541156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084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382898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7F28C-02CB-4615-8185-3908517BEE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2F047A5-0E5F-40DC-8614-865165C857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9AD7176-AB4A-45CB-B44E-D04C17E3D801}"/>
              </a:ext>
            </a:extLst>
          </p:cNvPr>
          <p:cNvSpPr>
            <a:spLocks noGrp="1"/>
          </p:cNvSpPr>
          <p:nvPr>
            <p:ph type="dt" sz="half" idx="10"/>
          </p:nvPr>
        </p:nvSpPr>
        <p:spPr/>
        <p:txBody>
          <a:bodyPr/>
          <a:lstStyle/>
          <a:p>
            <a:fld id="{43E194D3-6E88-41BF-B6AE-9C9EF80E06BB}" type="datetimeFigureOut">
              <a:rPr lang="en-GB" smtClean="0"/>
              <a:t>08/12/2021</a:t>
            </a:fld>
            <a:endParaRPr lang="en-GB"/>
          </a:p>
        </p:txBody>
      </p:sp>
      <p:sp>
        <p:nvSpPr>
          <p:cNvPr id="5" name="Footer Placeholder 4">
            <a:extLst>
              <a:ext uri="{FF2B5EF4-FFF2-40B4-BE49-F238E27FC236}">
                <a16:creationId xmlns:a16="http://schemas.microsoft.com/office/drawing/2014/main" id="{F35A728A-A996-41CB-AFC6-AEBD516A97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824A3DF-5F88-4F72-BC56-0945432FD5B9}"/>
              </a:ext>
            </a:extLst>
          </p:cNvPr>
          <p:cNvSpPr>
            <a:spLocks noGrp="1"/>
          </p:cNvSpPr>
          <p:nvPr>
            <p:ph type="sldNum" sz="quarter" idx="12"/>
          </p:nvPr>
        </p:nvSpPr>
        <p:spPr/>
        <p:txBody>
          <a:bodyPr/>
          <a:lstStyle/>
          <a:p>
            <a:fld id="{02D0476C-2380-43DA-BDA9-9165AFDA782A}" type="slidenum">
              <a:rPr lang="en-GB" smtClean="0"/>
              <a:t>‹#›</a:t>
            </a:fld>
            <a:endParaRPr lang="en-GB"/>
          </a:p>
        </p:txBody>
      </p:sp>
    </p:spTree>
    <p:extLst>
      <p:ext uri="{BB962C8B-B14F-4D97-AF65-F5344CB8AC3E}">
        <p14:creationId xmlns:p14="http://schemas.microsoft.com/office/powerpoint/2010/main" val="1533577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D3820-E5A5-4AFB-91DE-787AB37244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3363D0-C5F2-4F5B-913F-01F16D1BF6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672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Accent Color 3">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80"/>
          </a:p>
        </p:txBody>
      </p:sp>
    </p:spTree>
    <p:extLst>
      <p:ext uri="{BB962C8B-B14F-4D97-AF65-F5344CB8AC3E}">
        <p14:creationId xmlns:p14="http://schemas.microsoft.com/office/powerpoint/2010/main" val="209169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 y="2"/>
            <a:ext cx="12192000" cy="646042"/>
          </a:xfrm>
          <a:prstGeom prst="rect">
            <a:avLst/>
          </a:prstGeom>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pPr/>
              <a:t>‹#›</a:t>
            </a:fld>
            <a:endParaRPr lang="en-US" dirty="0"/>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46584334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D7B44-9AFF-415F-9AD9-798D190FB699}"/>
              </a:ext>
            </a:extLst>
          </p:cNvPr>
          <p:cNvSpPr>
            <a:spLocks noGrp="1"/>
          </p:cNvSpPr>
          <p:nvPr>
            <p:ph type="title" hasCustomPrompt="1"/>
          </p:nvPr>
        </p:nvSpPr>
        <p:spPr>
          <a:xfrm>
            <a:off x="831850" y="1709738"/>
            <a:ext cx="5830207" cy="2852737"/>
          </a:xfrm>
        </p:spPr>
        <p:txBody>
          <a:bodyPr anchor="b"/>
          <a:lstStyle>
            <a:lvl1pPr>
              <a:defRPr sz="6000">
                <a:solidFill>
                  <a:schemeClr val="bg1"/>
                </a:solidFill>
              </a:defRPr>
            </a:lvl1pPr>
          </a:lstStyle>
          <a:p>
            <a:r>
              <a:rPr lang="en-US"/>
              <a:t>Presentation Title</a:t>
            </a:r>
          </a:p>
        </p:txBody>
      </p:sp>
      <p:sp>
        <p:nvSpPr>
          <p:cNvPr id="3" name="Text Placeholder 2">
            <a:extLst>
              <a:ext uri="{FF2B5EF4-FFF2-40B4-BE49-F238E27FC236}">
                <a16:creationId xmlns:a16="http://schemas.microsoft.com/office/drawing/2014/main" id="{9B27AA04-74F2-4AEC-814F-E2FA6DFD5322}"/>
              </a:ext>
            </a:extLst>
          </p:cNvPr>
          <p:cNvSpPr>
            <a:spLocks noGrp="1"/>
          </p:cNvSpPr>
          <p:nvPr>
            <p:ph type="body" idx="1" hasCustomPrompt="1"/>
          </p:nvPr>
        </p:nvSpPr>
        <p:spPr>
          <a:xfrm>
            <a:off x="831850" y="4589464"/>
            <a:ext cx="5830207" cy="122944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peaker Name</a:t>
            </a:r>
          </a:p>
        </p:txBody>
      </p:sp>
      <p:sp>
        <p:nvSpPr>
          <p:cNvPr id="4" name="Rectangle 3">
            <a:extLst>
              <a:ext uri="{FF2B5EF4-FFF2-40B4-BE49-F238E27FC236}">
                <a16:creationId xmlns:a16="http://schemas.microsoft.com/office/drawing/2014/main" id="{9336E2E9-8781-45B8-898D-BD322E26215E}"/>
              </a:ext>
            </a:extLst>
          </p:cNvPr>
          <p:cNvSpPr/>
          <p:nvPr userDrawn="1"/>
        </p:nvSpPr>
        <p:spPr>
          <a:xfrm>
            <a:off x="7094871" y="7883"/>
            <a:ext cx="5097129" cy="6858000"/>
          </a:xfrm>
          <a:prstGeom prst="rect">
            <a:avLst/>
          </a:prstGeom>
          <a:solidFill>
            <a:srgbClr val="233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E5EBD24A-A0A9-4039-AE41-FE19E2E1CA0F}"/>
              </a:ext>
            </a:extLst>
          </p:cNvPr>
          <p:cNvCxnSpPr>
            <a:cxnSpLocks/>
          </p:cNvCxnSpPr>
          <p:nvPr userDrawn="1"/>
        </p:nvCxnSpPr>
        <p:spPr>
          <a:xfrm>
            <a:off x="9639762" y="3101248"/>
            <a:ext cx="0" cy="3586775"/>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24F33E1-597B-4EC5-B820-80371639B8BB}"/>
              </a:ext>
            </a:extLst>
          </p:cNvPr>
          <p:cNvCxnSpPr>
            <a:cxnSpLocks/>
          </p:cNvCxnSpPr>
          <p:nvPr userDrawn="1"/>
        </p:nvCxnSpPr>
        <p:spPr>
          <a:xfrm rot="5400000">
            <a:off x="9551633" y="3358134"/>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E0FE204-502D-4433-AA39-17A372817BCC}"/>
              </a:ext>
            </a:extLst>
          </p:cNvPr>
          <p:cNvSpPr txBox="1"/>
          <p:nvPr userDrawn="1"/>
        </p:nvSpPr>
        <p:spPr>
          <a:xfrm>
            <a:off x="7153479" y="331127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EVANGELIZATION</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drive significant product awareness across many different channels</a:t>
            </a:r>
          </a:p>
        </p:txBody>
      </p:sp>
      <p:sp>
        <p:nvSpPr>
          <p:cNvPr id="8" name="TextBox 7">
            <a:extLst>
              <a:ext uri="{FF2B5EF4-FFF2-40B4-BE49-F238E27FC236}">
                <a16:creationId xmlns:a16="http://schemas.microsoft.com/office/drawing/2014/main" id="{983DE7E2-3E62-41E5-A801-8EFCAE92ACA6}"/>
              </a:ext>
            </a:extLst>
          </p:cNvPr>
          <p:cNvSpPr txBox="1"/>
          <p:nvPr userDrawn="1"/>
        </p:nvSpPr>
        <p:spPr>
          <a:xfrm>
            <a:off x="9693180" y="3311278"/>
            <a:ext cx="2438395" cy="131061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ATTERNS &amp; </a:t>
            </a:r>
          </a:p>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ACTICES</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curate “How-to” &amp; “Best practices” content  for Power BI  </a:t>
            </a:r>
          </a:p>
        </p:txBody>
      </p:sp>
      <p:sp>
        <p:nvSpPr>
          <p:cNvPr id="9" name="TextBox 8">
            <a:extLst>
              <a:ext uri="{FF2B5EF4-FFF2-40B4-BE49-F238E27FC236}">
                <a16:creationId xmlns:a16="http://schemas.microsoft.com/office/drawing/2014/main" id="{4021D77C-3FD3-4A93-8CBB-9BA0F75EC16F}"/>
              </a:ext>
            </a:extLst>
          </p:cNvPr>
          <p:cNvSpPr txBox="1"/>
          <p:nvPr userDrawn="1"/>
        </p:nvSpPr>
        <p:spPr>
          <a:xfrm>
            <a:off x="7153468" y="5084577"/>
            <a:ext cx="2438395" cy="147732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FIELD &amp; PARTNER ENABL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enable thousands of sellers/partners to drive revenue, satisfaction and adoption </a:t>
            </a:r>
          </a:p>
        </p:txBody>
      </p:sp>
      <p:sp>
        <p:nvSpPr>
          <p:cNvPr id="10" name="TextBox 9">
            <a:extLst>
              <a:ext uri="{FF2B5EF4-FFF2-40B4-BE49-F238E27FC236}">
                <a16:creationId xmlns:a16="http://schemas.microsoft.com/office/drawing/2014/main" id="{FFE1A6AE-AC92-437B-A646-B0CBED03CFE1}"/>
              </a:ext>
            </a:extLst>
          </p:cNvPr>
          <p:cNvSpPr txBox="1"/>
          <p:nvPr userDrawn="1"/>
        </p:nvSpPr>
        <p:spPr>
          <a:xfrm>
            <a:off x="9702194" y="5084577"/>
            <a:ext cx="2438395" cy="1541448"/>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PRODUCT   FEEDBACK</a:t>
            </a:r>
          </a:p>
          <a:p>
            <a:pPr algn="ctr">
              <a:lnSpc>
                <a:spcPts val="500"/>
              </a:lnSpc>
            </a:pP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influence the product roadmap through engineering feedback rhythms</a:t>
            </a:r>
          </a:p>
        </p:txBody>
      </p:sp>
      <p:cxnSp>
        <p:nvCxnSpPr>
          <p:cNvPr id="11" name="Straight Connector 10">
            <a:extLst>
              <a:ext uri="{FF2B5EF4-FFF2-40B4-BE49-F238E27FC236}">
                <a16:creationId xmlns:a16="http://schemas.microsoft.com/office/drawing/2014/main" id="{5680CBE7-3997-4AD1-960B-B191F3801217}"/>
              </a:ext>
            </a:extLst>
          </p:cNvPr>
          <p:cNvCxnSpPr>
            <a:cxnSpLocks/>
          </p:cNvCxnSpPr>
          <p:nvPr userDrawn="1"/>
        </p:nvCxnSpPr>
        <p:spPr>
          <a:xfrm rot="5400000">
            <a:off x="9538784" y="1539405"/>
            <a:ext cx="0" cy="3126854"/>
          </a:xfrm>
          <a:prstGeom prst="line">
            <a:avLst/>
          </a:prstGeom>
          <a:ln>
            <a:solidFill>
              <a:srgbClr val="99ADC1">
                <a:alpha val="37000"/>
              </a:srgb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4ECE22A-0CE6-4F55-A855-D4C739C5A0A2}"/>
              </a:ext>
            </a:extLst>
          </p:cNvPr>
          <p:cNvSpPr txBox="1"/>
          <p:nvPr userDrawn="1"/>
        </p:nvSpPr>
        <p:spPr>
          <a:xfrm>
            <a:off x="8008403" y="1683029"/>
            <a:ext cx="3092607" cy="1246495"/>
          </a:xfrm>
          <a:prstGeom prst="rect">
            <a:avLst/>
          </a:prstGeom>
          <a:noFill/>
        </p:spPr>
        <p:txBody>
          <a:bodyPr wrap="square" rtlCol="0">
            <a:spAutoFit/>
          </a:bodyPr>
          <a:lstStyle/>
          <a:p>
            <a:pPr algn="ctr">
              <a:lnSpc>
                <a:spcPts val="1800"/>
              </a:lnSpc>
            </a:pPr>
            <a:r>
              <a:rPr lang="en-US">
                <a:solidFill>
                  <a:srgbClr val="F2C811"/>
                </a:solidFill>
                <a:latin typeface="Segoe UI Semibold" panose="020B0702040204020203" pitchFamily="34" charset="0"/>
                <a:cs typeface="Segoe UI Semibold" panose="020B0702040204020203" pitchFamily="34" charset="0"/>
              </a:rPr>
              <a:t>CUSTOMER ENGAGEMENT</a:t>
            </a:r>
            <a:endParaRPr lang="en-US">
              <a:solidFill>
                <a:schemeClr val="bg2">
                  <a:lumMod val="10000"/>
                </a:schemeClr>
              </a:solidFill>
              <a:latin typeface="Segoe UI Semibold" panose="020B0702040204020203" pitchFamily="34" charset="0"/>
              <a:cs typeface="Segoe UI Semibold" panose="020B0702040204020203" pitchFamily="34" charset="0"/>
            </a:endParaRPr>
          </a:p>
          <a:p>
            <a:pPr algn="ctr">
              <a:lnSpc>
                <a:spcPts val="1800"/>
              </a:lnSpc>
            </a:pPr>
            <a:r>
              <a:rPr lang="en-US" sz="1600">
                <a:solidFill>
                  <a:schemeClr val="bg1"/>
                </a:solidFill>
                <a:latin typeface="Segoe UI" panose="020B0502040204020203" pitchFamily="34" charset="0"/>
                <a:cs typeface="Segoe UI" panose="020B0502040204020203" pitchFamily="34" charset="0"/>
              </a:rPr>
              <a:t>We remove deep technical issues to drive revenue, satisfaction, and adoption from our top customers</a:t>
            </a:r>
          </a:p>
        </p:txBody>
      </p:sp>
      <p:grpSp>
        <p:nvGrpSpPr>
          <p:cNvPr id="14" name="Group 13">
            <a:extLst>
              <a:ext uri="{FF2B5EF4-FFF2-40B4-BE49-F238E27FC236}">
                <a16:creationId xmlns:a16="http://schemas.microsoft.com/office/drawing/2014/main" id="{CBF404C9-7C3D-4756-A271-3A1A1E3EE27C}"/>
              </a:ext>
            </a:extLst>
          </p:cNvPr>
          <p:cNvGrpSpPr/>
          <p:nvPr userDrawn="1"/>
        </p:nvGrpSpPr>
        <p:grpSpPr>
          <a:xfrm>
            <a:off x="8234566" y="144536"/>
            <a:ext cx="2810392" cy="1169551"/>
            <a:chOff x="572329" y="979178"/>
            <a:chExt cx="6709126" cy="2792016"/>
          </a:xfrm>
        </p:grpSpPr>
        <p:sp>
          <p:nvSpPr>
            <p:cNvPr id="15" name="TextBox 14">
              <a:extLst>
                <a:ext uri="{FF2B5EF4-FFF2-40B4-BE49-F238E27FC236}">
                  <a16:creationId xmlns:a16="http://schemas.microsoft.com/office/drawing/2014/main" id="{D7F18537-0A16-4A2C-9E4F-C64EFB3ED713}"/>
                </a:ext>
              </a:extLst>
            </p:cNvPr>
            <p:cNvSpPr txBox="1"/>
            <p:nvPr/>
          </p:nvSpPr>
          <p:spPr>
            <a:xfrm>
              <a:off x="3039241" y="979178"/>
              <a:ext cx="4242214" cy="2792016"/>
            </a:xfrm>
            <a:prstGeom prst="rect">
              <a:avLst/>
            </a:prstGeom>
            <a:noFill/>
          </p:spPr>
          <p:txBody>
            <a:bodyPr wrap="none" rtlCol="0">
              <a:spAutoFit/>
            </a:bodyPr>
            <a:lstStyle/>
            <a:p>
              <a:r>
                <a:rPr lang="en-US" sz="7050">
                  <a:solidFill>
                    <a:schemeClr val="bg1"/>
                  </a:solidFill>
                  <a:latin typeface="Segoe UI Semibold" panose="020B0702040204020203" pitchFamily="34" charset="0"/>
                  <a:cs typeface="Segoe UI Semibold" panose="020B0702040204020203" pitchFamily="34" charset="0"/>
                </a:rPr>
                <a:t>CAT</a:t>
              </a:r>
            </a:p>
          </p:txBody>
        </p:sp>
        <p:sp>
          <p:nvSpPr>
            <p:cNvPr id="16" name="Freeform: Shape 15">
              <a:extLst>
                <a:ext uri="{FF2B5EF4-FFF2-40B4-BE49-F238E27FC236}">
                  <a16:creationId xmlns:a16="http://schemas.microsoft.com/office/drawing/2014/main" id="{FE426500-A249-4F0A-8441-3DCEC7D63D05}"/>
                </a:ext>
              </a:extLst>
            </p:cNvPr>
            <p:cNvSpPr/>
            <p:nvPr/>
          </p:nvSpPr>
          <p:spPr>
            <a:xfrm>
              <a:off x="572329" y="1661258"/>
              <a:ext cx="2415795" cy="2097533"/>
            </a:xfrm>
            <a:custGeom>
              <a:avLst/>
              <a:gdLst>
                <a:gd name="connsiteX0" fmla="*/ 2281772 w 3943350"/>
                <a:gd name="connsiteY0" fmla="*/ 1487438 h 3423841"/>
                <a:gd name="connsiteX1" fmla="*/ 2449412 w 3943350"/>
                <a:gd name="connsiteY1" fmla="*/ 1651267 h 3423841"/>
                <a:gd name="connsiteX2" fmla="*/ 2448040 w 3943350"/>
                <a:gd name="connsiteY2" fmla="*/ 1657911 h 3423841"/>
                <a:gd name="connsiteX3" fmla="*/ 2449412 w 3943350"/>
                <a:gd name="connsiteY3" fmla="*/ 1657911 h 3423841"/>
                <a:gd name="connsiteX4" fmla="*/ 2449412 w 3943350"/>
                <a:gd name="connsiteY4" fmla="*/ 2593332 h 3423841"/>
                <a:gd name="connsiteX5" fmla="*/ 2449412 w 3943350"/>
                <a:gd name="connsiteY5" fmla="*/ 2605332 h 3423841"/>
                <a:gd name="connsiteX6" fmla="*/ 2446933 w 3943350"/>
                <a:gd name="connsiteY6" fmla="*/ 2605332 h 3423841"/>
                <a:gd name="connsiteX7" fmla="*/ 2436238 w 3943350"/>
                <a:gd name="connsiteY7" fmla="*/ 2657102 h 3423841"/>
                <a:gd name="connsiteX8" fmla="*/ 2281772 w 3943350"/>
                <a:gd name="connsiteY8" fmla="*/ 2757161 h 3423841"/>
                <a:gd name="connsiteX9" fmla="*/ 2127306 w 3943350"/>
                <a:gd name="connsiteY9" fmla="*/ 2657102 h 3423841"/>
                <a:gd name="connsiteX10" fmla="*/ 2116611 w 3943350"/>
                <a:gd name="connsiteY10" fmla="*/ 2605332 h 3423841"/>
                <a:gd name="connsiteX11" fmla="*/ 2114132 w 3943350"/>
                <a:gd name="connsiteY11" fmla="*/ 2605332 h 3423841"/>
                <a:gd name="connsiteX12" fmla="*/ 2114132 w 3943350"/>
                <a:gd name="connsiteY12" fmla="*/ 2593332 h 3423841"/>
                <a:gd name="connsiteX13" fmla="*/ 2114132 w 3943350"/>
                <a:gd name="connsiteY13" fmla="*/ 1657911 h 3423841"/>
                <a:gd name="connsiteX14" fmla="*/ 2115505 w 3943350"/>
                <a:gd name="connsiteY14" fmla="*/ 1657911 h 3423841"/>
                <a:gd name="connsiteX15" fmla="*/ 2114132 w 3943350"/>
                <a:gd name="connsiteY15" fmla="*/ 1651267 h 3423841"/>
                <a:gd name="connsiteX16" fmla="*/ 2281772 w 3943350"/>
                <a:gd name="connsiteY16" fmla="*/ 1487438 h 3423841"/>
                <a:gd name="connsiteX17" fmla="*/ 2900209 w 3943350"/>
                <a:gd name="connsiteY17" fmla="*/ 699485 h 3423841"/>
                <a:gd name="connsiteX18" fmla="*/ 3067849 w 3943350"/>
                <a:gd name="connsiteY18" fmla="*/ 863314 h 3423841"/>
                <a:gd name="connsiteX19" fmla="*/ 3066362 w 3943350"/>
                <a:gd name="connsiteY19" fmla="*/ 870511 h 3423841"/>
                <a:gd name="connsiteX20" fmla="*/ 3067849 w 3943350"/>
                <a:gd name="connsiteY20" fmla="*/ 870511 h 3423841"/>
                <a:gd name="connsiteX21" fmla="*/ 3067849 w 3943350"/>
                <a:gd name="connsiteY21" fmla="*/ 2605332 h 3423841"/>
                <a:gd name="connsiteX22" fmla="*/ 2900209 w 3943350"/>
                <a:gd name="connsiteY22" fmla="*/ 2769161 h 3423841"/>
                <a:gd name="connsiteX23" fmla="*/ 2732569 w 3943350"/>
                <a:gd name="connsiteY23" fmla="*/ 2605332 h 3423841"/>
                <a:gd name="connsiteX24" fmla="*/ 2732569 w 3943350"/>
                <a:gd name="connsiteY24" fmla="*/ 870511 h 3423841"/>
                <a:gd name="connsiteX25" fmla="*/ 2734056 w 3943350"/>
                <a:gd name="connsiteY25" fmla="*/ 870511 h 3423841"/>
                <a:gd name="connsiteX26" fmla="*/ 2732569 w 3943350"/>
                <a:gd name="connsiteY26" fmla="*/ 863314 h 3423841"/>
                <a:gd name="connsiteX27" fmla="*/ 2900209 w 3943350"/>
                <a:gd name="connsiteY27" fmla="*/ 699485 h 3423841"/>
                <a:gd name="connsiteX28" fmla="*/ 493682 w 3943350"/>
                <a:gd name="connsiteY28" fmla="*/ 0 h 3423841"/>
                <a:gd name="connsiteX29" fmla="*/ 3449668 w 3943350"/>
                <a:gd name="connsiteY29" fmla="*/ 0 h 3423841"/>
                <a:gd name="connsiteX30" fmla="*/ 3943350 w 3943350"/>
                <a:gd name="connsiteY30" fmla="*/ 493682 h 3423841"/>
                <a:gd name="connsiteX31" fmla="*/ 3943350 w 3943350"/>
                <a:gd name="connsiteY31" fmla="*/ 2011172 h 3423841"/>
                <a:gd name="connsiteX32" fmla="*/ 3449668 w 3943350"/>
                <a:gd name="connsiteY32" fmla="*/ 2504854 h 3423841"/>
                <a:gd name="connsiteX33" fmla="*/ 3318913 w 3943350"/>
                <a:gd name="connsiteY33" fmla="*/ 2504854 h 3423841"/>
                <a:gd name="connsiteX34" fmla="*/ 3318913 w 3943350"/>
                <a:gd name="connsiteY34" fmla="*/ 2179617 h 3423841"/>
                <a:gd name="connsiteX35" fmla="*/ 3397068 w 3943350"/>
                <a:gd name="connsiteY35" fmla="*/ 2179617 h 3423841"/>
                <a:gd name="connsiteX36" fmla="*/ 3612526 w 3943350"/>
                <a:gd name="connsiteY36" fmla="*/ 1964159 h 3423841"/>
                <a:gd name="connsiteX37" fmla="*/ 3612526 w 3943350"/>
                <a:gd name="connsiteY37" fmla="*/ 546282 h 3423841"/>
                <a:gd name="connsiteX38" fmla="*/ 3397068 w 3943350"/>
                <a:gd name="connsiteY38" fmla="*/ 330824 h 3423841"/>
                <a:gd name="connsiteX39" fmla="*/ 546282 w 3943350"/>
                <a:gd name="connsiteY39" fmla="*/ 330824 h 3423841"/>
                <a:gd name="connsiteX40" fmla="*/ 330824 w 3943350"/>
                <a:gd name="connsiteY40" fmla="*/ 546282 h 3423841"/>
                <a:gd name="connsiteX41" fmla="*/ 330824 w 3943350"/>
                <a:gd name="connsiteY41" fmla="*/ 1964159 h 3423841"/>
                <a:gd name="connsiteX42" fmla="*/ 502860 w 3943350"/>
                <a:gd name="connsiteY42" fmla="*/ 2175240 h 3423841"/>
                <a:gd name="connsiteX43" fmla="*/ 541027 w 3943350"/>
                <a:gd name="connsiteY43" fmla="*/ 2179087 h 3423841"/>
                <a:gd name="connsiteX44" fmla="*/ 541027 w 3943350"/>
                <a:gd name="connsiteY44" fmla="*/ 2180360 h 3423841"/>
                <a:gd name="connsiteX45" fmla="*/ 1235467 w 3943350"/>
                <a:gd name="connsiteY45" fmla="*/ 2180360 h 3423841"/>
                <a:gd name="connsiteX46" fmla="*/ 1235467 w 3943350"/>
                <a:gd name="connsiteY46" fmla="*/ 2168448 h 3423841"/>
                <a:gd name="connsiteX47" fmla="*/ 1236141 w 3943350"/>
                <a:gd name="connsiteY47" fmla="*/ 2168448 h 3423841"/>
                <a:gd name="connsiteX48" fmla="*/ 1236141 w 3943350"/>
                <a:gd name="connsiteY48" fmla="*/ 2843218 h 3423841"/>
                <a:gd name="connsiteX49" fmla="*/ 1511308 w 3943350"/>
                <a:gd name="connsiteY49" fmla="*/ 2568051 h 3423841"/>
                <a:gd name="connsiteX50" fmla="*/ 1511308 w 3943350"/>
                <a:gd name="connsiteY50" fmla="*/ 1386978 h 3423841"/>
                <a:gd name="connsiteX51" fmla="*/ 1511308 w 3943350"/>
                <a:gd name="connsiteY51" fmla="*/ 1386977 h 3423841"/>
                <a:gd name="connsiteX52" fmla="*/ 1524089 w 3943350"/>
                <a:gd name="connsiteY52" fmla="*/ 1323208 h 3423841"/>
                <a:gd name="connsiteX53" fmla="*/ 1673946 w 3943350"/>
                <a:gd name="connsiteY53" fmla="*/ 1223149 h 3423841"/>
                <a:gd name="connsiteX54" fmla="*/ 1836584 w 3943350"/>
                <a:gd name="connsiteY54" fmla="*/ 1386978 h 3423841"/>
                <a:gd name="connsiteX55" fmla="*/ 1836583 w 3943350"/>
                <a:gd name="connsiteY55" fmla="*/ 1386983 h 3423841"/>
                <a:gd name="connsiteX56" fmla="*/ 1836583 w 3943350"/>
                <a:gd name="connsiteY56" fmla="*/ 2617206 h 3423841"/>
                <a:gd name="connsiteX57" fmla="*/ 1837698 w 3943350"/>
                <a:gd name="connsiteY57" fmla="*/ 2620940 h 3423841"/>
                <a:gd name="connsiteX58" fmla="*/ 1836583 w 3943350"/>
                <a:gd name="connsiteY58" fmla="*/ 2632732 h 3423841"/>
                <a:gd name="connsiteX59" fmla="*/ 1836583 w 3943350"/>
                <a:gd name="connsiteY59" fmla="*/ 2636682 h 3423841"/>
                <a:gd name="connsiteX60" fmla="*/ 1836210 w 3943350"/>
                <a:gd name="connsiteY60" fmla="*/ 2636682 h 3423841"/>
                <a:gd name="connsiteX61" fmla="*/ 1831156 w 3943350"/>
                <a:gd name="connsiteY61" fmla="*/ 2690128 h 3423841"/>
                <a:gd name="connsiteX62" fmla="*/ 1799116 w 3943350"/>
                <a:gd name="connsiteY62" fmla="*/ 2751798 h 3423841"/>
                <a:gd name="connsiteX63" fmla="*/ 1782475 w 3943350"/>
                <a:gd name="connsiteY63" fmla="*/ 2766021 h 3423841"/>
                <a:gd name="connsiteX64" fmla="*/ 1784985 w 3943350"/>
                <a:gd name="connsiteY64" fmla="*/ 2768531 h 3423841"/>
                <a:gd name="connsiteX65" fmla="*/ 1195739 w 3943350"/>
                <a:gd name="connsiteY65" fmla="*/ 3357777 h 3423841"/>
                <a:gd name="connsiteX66" fmla="*/ 1186274 w 3943350"/>
                <a:gd name="connsiteY66" fmla="*/ 3372290 h 3423841"/>
                <a:gd name="connsiteX67" fmla="*/ 1169615 w 3943350"/>
                <a:gd name="connsiteY67" fmla="*/ 3383900 h 3423841"/>
                <a:gd name="connsiteX68" fmla="*/ 1163750 w 3943350"/>
                <a:gd name="connsiteY68" fmla="*/ 3389766 h 3423841"/>
                <a:gd name="connsiteX69" fmla="*/ 1162702 w 3943350"/>
                <a:gd name="connsiteY69" fmla="*/ 3388719 h 3423841"/>
                <a:gd name="connsiteX70" fmla="*/ 1132155 w 3943350"/>
                <a:gd name="connsiteY70" fmla="*/ 3410010 h 3423841"/>
                <a:gd name="connsiteX71" fmla="*/ 1065883 w 3943350"/>
                <a:gd name="connsiteY71" fmla="*/ 3423841 h 3423841"/>
                <a:gd name="connsiteX72" fmla="*/ 895625 w 3943350"/>
                <a:gd name="connsiteY72" fmla="*/ 3247835 h 3423841"/>
                <a:gd name="connsiteX73" fmla="*/ 900861 w 3943350"/>
                <a:gd name="connsiteY73" fmla="*/ 3221025 h 3423841"/>
                <a:gd name="connsiteX74" fmla="*/ 900861 w 3943350"/>
                <a:gd name="connsiteY74" fmla="*/ 2503729 h 3423841"/>
                <a:gd name="connsiteX75" fmla="*/ 792091 w 3943350"/>
                <a:gd name="connsiteY75" fmla="*/ 2503729 h 3423841"/>
                <a:gd name="connsiteX76" fmla="*/ 792091 w 3943350"/>
                <a:gd name="connsiteY76" fmla="*/ 2504854 h 3423841"/>
                <a:gd name="connsiteX77" fmla="*/ 493682 w 3943350"/>
                <a:gd name="connsiteY77" fmla="*/ 2504854 h 3423841"/>
                <a:gd name="connsiteX78" fmla="*/ 0 w 3943350"/>
                <a:gd name="connsiteY78" fmla="*/ 2011172 h 3423841"/>
                <a:gd name="connsiteX79" fmla="*/ 0 w 3943350"/>
                <a:gd name="connsiteY79" fmla="*/ 493682 h 3423841"/>
                <a:gd name="connsiteX80" fmla="*/ 493682 w 3943350"/>
                <a:gd name="connsiteY80" fmla="*/ 0 h 342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943350" h="3423841">
                  <a:moveTo>
                    <a:pt x="2281772" y="1487438"/>
                  </a:moveTo>
                  <a:cubicBezTo>
                    <a:pt x="2374357" y="1487438"/>
                    <a:pt x="2449412" y="1560787"/>
                    <a:pt x="2449412" y="1651267"/>
                  </a:cubicBezTo>
                  <a:lnTo>
                    <a:pt x="2448040" y="1657911"/>
                  </a:lnTo>
                  <a:lnTo>
                    <a:pt x="2449412" y="1657911"/>
                  </a:lnTo>
                  <a:lnTo>
                    <a:pt x="2449412" y="2593332"/>
                  </a:lnTo>
                  <a:lnTo>
                    <a:pt x="2449412" y="2605332"/>
                  </a:lnTo>
                  <a:lnTo>
                    <a:pt x="2446933" y="2605332"/>
                  </a:lnTo>
                  <a:lnTo>
                    <a:pt x="2436238" y="2657102"/>
                  </a:lnTo>
                  <a:cubicBezTo>
                    <a:pt x="2410789" y="2715902"/>
                    <a:pt x="2351211" y="2757161"/>
                    <a:pt x="2281772" y="2757161"/>
                  </a:cubicBezTo>
                  <a:cubicBezTo>
                    <a:pt x="2212333" y="2757161"/>
                    <a:pt x="2152755" y="2715902"/>
                    <a:pt x="2127306" y="2657102"/>
                  </a:cubicBezTo>
                  <a:lnTo>
                    <a:pt x="2116611" y="2605332"/>
                  </a:lnTo>
                  <a:lnTo>
                    <a:pt x="2114132" y="2605332"/>
                  </a:lnTo>
                  <a:lnTo>
                    <a:pt x="2114132" y="2593332"/>
                  </a:lnTo>
                  <a:lnTo>
                    <a:pt x="2114132" y="1657911"/>
                  </a:lnTo>
                  <a:lnTo>
                    <a:pt x="2115505" y="1657911"/>
                  </a:lnTo>
                  <a:lnTo>
                    <a:pt x="2114132" y="1651267"/>
                  </a:lnTo>
                  <a:cubicBezTo>
                    <a:pt x="2114132" y="1560787"/>
                    <a:pt x="2189187" y="1487438"/>
                    <a:pt x="2281772" y="1487438"/>
                  </a:cubicBezTo>
                  <a:close/>
                  <a:moveTo>
                    <a:pt x="2900209" y="699485"/>
                  </a:moveTo>
                  <a:cubicBezTo>
                    <a:pt x="2992794" y="699485"/>
                    <a:pt x="3067849" y="772834"/>
                    <a:pt x="3067849" y="863314"/>
                  </a:cubicBezTo>
                  <a:lnTo>
                    <a:pt x="3066362" y="870511"/>
                  </a:lnTo>
                  <a:lnTo>
                    <a:pt x="3067849" y="870511"/>
                  </a:lnTo>
                  <a:lnTo>
                    <a:pt x="3067849" y="2605332"/>
                  </a:lnTo>
                  <a:cubicBezTo>
                    <a:pt x="3067849" y="2695812"/>
                    <a:pt x="2992794" y="2769161"/>
                    <a:pt x="2900209" y="2769161"/>
                  </a:cubicBezTo>
                  <a:cubicBezTo>
                    <a:pt x="2807624" y="2769161"/>
                    <a:pt x="2732569" y="2695812"/>
                    <a:pt x="2732569" y="2605332"/>
                  </a:cubicBezTo>
                  <a:lnTo>
                    <a:pt x="2732569" y="870511"/>
                  </a:lnTo>
                  <a:lnTo>
                    <a:pt x="2734056" y="870511"/>
                  </a:lnTo>
                  <a:lnTo>
                    <a:pt x="2732569" y="863314"/>
                  </a:lnTo>
                  <a:cubicBezTo>
                    <a:pt x="2732569" y="772834"/>
                    <a:pt x="2807624" y="699485"/>
                    <a:pt x="2900209" y="699485"/>
                  </a:cubicBezTo>
                  <a:close/>
                  <a:moveTo>
                    <a:pt x="493682" y="0"/>
                  </a:moveTo>
                  <a:lnTo>
                    <a:pt x="3449668" y="0"/>
                  </a:lnTo>
                  <a:cubicBezTo>
                    <a:pt x="3722321" y="0"/>
                    <a:pt x="3943350" y="221029"/>
                    <a:pt x="3943350" y="493682"/>
                  </a:cubicBezTo>
                  <a:lnTo>
                    <a:pt x="3943350" y="2011172"/>
                  </a:lnTo>
                  <a:cubicBezTo>
                    <a:pt x="3943350" y="2283825"/>
                    <a:pt x="3722321" y="2504854"/>
                    <a:pt x="3449668" y="2504854"/>
                  </a:cubicBezTo>
                  <a:lnTo>
                    <a:pt x="3318913" y="2504854"/>
                  </a:lnTo>
                  <a:lnTo>
                    <a:pt x="3318913" y="2179617"/>
                  </a:lnTo>
                  <a:lnTo>
                    <a:pt x="3397068" y="2179617"/>
                  </a:lnTo>
                  <a:cubicBezTo>
                    <a:pt x="3516062" y="2179617"/>
                    <a:pt x="3612526" y="2083153"/>
                    <a:pt x="3612526" y="1964159"/>
                  </a:cubicBezTo>
                  <a:lnTo>
                    <a:pt x="3612526" y="546282"/>
                  </a:lnTo>
                  <a:cubicBezTo>
                    <a:pt x="3612526" y="427288"/>
                    <a:pt x="3516062" y="330824"/>
                    <a:pt x="3397068" y="330824"/>
                  </a:cubicBezTo>
                  <a:lnTo>
                    <a:pt x="546282" y="330824"/>
                  </a:lnTo>
                  <a:cubicBezTo>
                    <a:pt x="427288" y="330824"/>
                    <a:pt x="330824" y="427288"/>
                    <a:pt x="330824" y="546282"/>
                  </a:cubicBezTo>
                  <a:lnTo>
                    <a:pt x="330824" y="1964159"/>
                  </a:lnTo>
                  <a:cubicBezTo>
                    <a:pt x="330824" y="2068279"/>
                    <a:pt x="404679" y="2155149"/>
                    <a:pt x="502860" y="2175240"/>
                  </a:cubicBezTo>
                  <a:lnTo>
                    <a:pt x="541027" y="2179087"/>
                  </a:lnTo>
                  <a:lnTo>
                    <a:pt x="541027" y="2180360"/>
                  </a:lnTo>
                  <a:lnTo>
                    <a:pt x="1235467" y="2180360"/>
                  </a:lnTo>
                  <a:lnTo>
                    <a:pt x="1235467" y="2168448"/>
                  </a:lnTo>
                  <a:lnTo>
                    <a:pt x="1236141" y="2168448"/>
                  </a:lnTo>
                  <a:lnTo>
                    <a:pt x="1236141" y="2843218"/>
                  </a:lnTo>
                  <a:lnTo>
                    <a:pt x="1511308" y="2568051"/>
                  </a:lnTo>
                  <a:lnTo>
                    <a:pt x="1511308" y="1386978"/>
                  </a:lnTo>
                  <a:lnTo>
                    <a:pt x="1511308" y="1386977"/>
                  </a:lnTo>
                  <a:lnTo>
                    <a:pt x="1524089" y="1323208"/>
                  </a:lnTo>
                  <a:cubicBezTo>
                    <a:pt x="1548779" y="1264408"/>
                    <a:pt x="1606580" y="1223149"/>
                    <a:pt x="1673946" y="1223149"/>
                  </a:cubicBezTo>
                  <a:cubicBezTo>
                    <a:pt x="1763768" y="1223149"/>
                    <a:pt x="1836584" y="1296498"/>
                    <a:pt x="1836584" y="1386978"/>
                  </a:cubicBezTo>
                  <a:lnTo>
                    <a:pt x="1836583" y="1386983"/>
                  </a:lnTo>
                  <a:lnTo>
                    <a:pt x="1836583" y="2617206"/>
                  </a:lnTo>
                  <a:lnTo>
                    <a:pt x="1837698" y="2620940"/>
                  </a:lnTo>
                  <a:lnTo>
                    <a:pt x="1836583" y="2632732"/>
                  </a:lnTo>
                  <a:lnTo>
                    <a:pt x="1836583" y="2636682"/>
                  </a:lnTo>
                  <a:lnTo>
                    <a:pt x="1836210" y="2636682"/>
                  </a:lnTo>
                  <a:lnTo>
                    <a:pt x="1831156" y="2690128"/>
                  </a:lnTo>
                  <a:cubicBezTo>
                    <a:pt x="1824314" y="2713337"/>
                    <a:pt x="1813255" y="2734108"/>
                    <a:pt x="1799116" y="2751798"/>
                  </a:cubicBezTo>
                  <a:lnTo>
                    <a:pt x="1782475" y="2766021"/>
                  </a:lnTo>
                  <a:lnTo>
                    <a:pt x="1784985" y="2768531"/>
                  </a:lnTo>
                  <a:lnTo>
                    <a:pt x="1195739" y="3357777"/>
                  </a:lnTo>
                  <a:lnTo>
                    <a:pt x="1186274" y="3372290"/>
                  </a:lnTo>
                  <a:lnTo>
                    <a:pt x="1169615" y="3383900"/>
                  </a:lnTo>
                  <a:lnTo>
                    <a:pt x="1163750" y="3389766"/>
                  </a:lnTo>
                  <a:lnTo>
                    <a:pt x="1162702" y="3388719"/>
                  </a:lnTo>
                  <a:lnTo>
                    <a:pt x="1132155" y="3410010"/>
                  </a:lnTo>
                  <a:cubicBezTo>
                    <a:pt x="1111786" y="3418916"/>
                    <a:pt x="1089391" y="3423841"/>
                    <a:pt x="1065883" y="3423841"/>
                  </a:cubicBezTo>
                  <a:cubicBezTo>
                    <a:pt x="971852" y="3423841"/>
                    <a:pt x="895625" y="3345040"/>
                    <a:pt x="895625" y="3247835"/>
                  </a:cubicBezTo>
                  <a:lnTo>
                    <a:pt x="900861" y="3221025"/>
                  </a:lnTo>
                  <a:lnTo>
                    <a:pt x="900861" y="2503729"/>
                  </a:lnTo>
                  <a:lnTo>
                    <a:pt x="792091" y="2503729"/>
                  </a:lnTo>
                  <a:lnTo>
                    <a:pt x="792091" y="2504854"/>
                  </a:lnTo>
                  <a:lnTo>
                    <a:pt x="493682" y="2504854"/>
                  </a:lnTo>
                  <a:cubicBezTo>
                    <a:pt x="221029" y="2504854"/>
                    <a:pt x="0" y="2283825"/>
                    <a:pt x="0" y="2011172"/>
                  </a:cubicBezTo>
                  <a:lnTo>
                    <a:pt x="0" y="493682"/>
                  </a:lnTo>
                  <a:cubicBezTo>
                    <a:pt x="0" y="221029"/>
                    <a:pt x="221029" y="0"/>
                    <a:pt x="4936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Tree>
    <p:extLst>
      <p:ext uri="{BB962C8B-B14F-4D97-AF65-F5344CB8AC3E}">
        <p14:creationId xmlns:p14="http://schemas.microsoft.com/office/powerpoint/2010/main" val="1179716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317742F7-7A61-4E5D-A632-AC505230636D}"/>
              </a:ext>
            </a:extLst>
          </p:cNvPr>
          <p:cNvSpPr>
            <a:spLocks noGrp="1" noChangeAspect="1"/>
          </p:cNvSpPr>
          <p:nvPr>
            <p:ph type="pic" sz="quarter" idx="10"/>
          </p:nvPr>
        </p:nvSpPr>
        <p:spPr bwMode="ltGray">
          <a:xfrm>
            <a:off x="7678058" y="0"/>
            <a:ext cx="4513942" cy="5931905"/>
          </a:xfrm>
          <a:blipFill dpi="0" rotWithShape="1">
            <a:blip r:embed="rId3"/>
            <a:srcRect/>
            <a:stretch>
              <a:fillRect t="-320"/>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12" name="Title 11">
            <a:extLst>
              <a:ext uri="{FF2B5EF4-FFF2-40B4-BE49-F238E27FC236}">
                <a16:creationId xmlns:a16="http://schemas.microsoft.com/office/drawing/2014/main" id="{CF498402-1895-4554-9D53-F50ECB7B383A}"/>
              </a:ext>
            </a:extLst>
          </p:cNvPr>
          <p:cNvSpPr>
            <a:spLocks noGrp="1"/>
          </p:cNvSpPr>
          <p:nvPr>
            <p:ph type="title" hasCustomPrompt="1"/>
          </p:nvPr>
        </p:nvSpPr>
        <p:spPr>
          <a:xfrm>
            <a:off x="717550" y="1204118"/>
            <a:ext cx="5378450" cy="1884363"/>
          </a:xfrm>
        </p:spPr>
        <p:txBody>
          <a:bodyPr anchor="t">
            <a:noAutofit/>
          </a:bodyPr>
          <a:lstStyle>
            <a:lvl1pPr>
              <a:defRPr sz="6600"/>
            </a:lvl1pPr>
          </a:lstStyle>
          <a:p>
            <a:r>
              <a:rPr lang="en-US"/>
              <a:t>Speaker Intro Slide</a:t>
            </a:r>
          </a:p>
        </p:txBody>
      </p:sp>
    </p:spTree>
    <p:extLst>
      <p:ext uri="{BB962C8B-B14F-4D97-AF65-F5344CB8AC3E}">
        <p14:creationId xmlns:p14="http://schemas.microsoft.com/office/powerpoint/2010/main" val="2200782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EDBB5-FFC9-4279-BD52-58664EACB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74A2F5-6E3E-450F-BE40-01EEC1048A27}"/>
              </a:ext>
            </a:extLst>
          </p:cNvPr>
          <p:cNvSpPr>
            <a:spLocks noGrp="1"/>
          </p:cNvSpPr>
          <p:nvPr>
            <p:ph sz="half" idx="1"/>
          </p:nvPr>
        </p:nvSpPr>
        <p:spPr>
          <a:xfrm>
            <a:off x="667656" y="1393371"/>
            <a:ext cx="5352144" cy="44393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4435BD1-E06F-4AE3-B6BE-2FA0A6FA4FF9}"/>
              </a:ext>
            </a:extLst>
          </p:cNvPr>
          <p:cNvSpPr>
            <a:spLocks noGrp="1"/>
          </p:cNvSpPr>
          <p:nvPr>
            <p:ph sz="half" idx="2"/>
          </p:nvPr>
        </p:nvSpPr>
        <p:spPr>
          <a:xfrm>
            <a:off x="6172199" y="1393371"/>
            <a:ext cx="5366657" cy="443939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4315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2F2010-6B8D-4FE7-8CAC-C19A8683E124}"/>
              </a:ext>
            </a:extLst>
          </p:cNvPr>
          <p:cNvSpPr>
            <a:spLocks noGrp="1"/>
          </p:cNvSpPr>
          <p:nvPr>
            <p:ph type="body" idx="1"/>
          </p:nvPr>
        </p:nvSpPr>
        <p:spPr>
          <a:xfrm>
            <a:off x="667656" y="1376363"/>
            <a:ext cx="532833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E6E270D-78EB-4997-9A4A-FE1D005CD19E}"/>
              </a:ext>
            </a:extLst>
          </p:cNvPr>
          <p:cNvSpPr>
            <a:spLocks noGrp="1"/>
          </p:cNvSpPr>
          <p:nvPr>
            <p:ph sz="half" idx="2"/>
          </p:nvPr>
        </p:nvSpPr>
        <p:spPr>
          <a:xfrm>
            <a:off x="667656" y="2200275"/>
            <a:ext cx="5328331" cy="36324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B0A9FA3-13CB-48CE-A7DF-92B3BA73749D}"/>
              </a:ext>
            </a:extLst>
          </p:cNvPr>
          <p:cNvSpPr>
            <a:spLocks noGrp="1"/>
          </p:cNvSpPr>
          <p:nvPr>
            <p:ph type="body" sz="quarter" idx="3"/>
          </p:nvPr>
        </p:nvSpPr>
        <p:spPr>
          <a:xfrm>
            <a:off x="6170611" y="1376363"/>
            <a:ext cx="532833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1CB188D-E567-4789-817A-663ECBA368E4}"/>
              </a:ext>
            </a:extLst>
          </p:cNvPr>
          <p:cNvSpPr>
            <a:spLocks noGrp="1"/>
          </p:cNvSpPr>
          <p:nvPr>
            <p:ph sz="quarter" idx="4"/>
          </p:nvPr>
        </p:nvSpPr>
        <p:spPr>
          <a:xfrm>
            <a:off x="6170611" y="2200275"/>
            <a:ext cx="5328331" cy="36324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D2320093-9B9F-40CF-8B5E-EDE68044F27A}"/>
              </a:ext>
            </a:extLst>
          </p:cNvPr>
          <p:cNvSpPr>
            <a:spLocks noGrp="1"/>
          </p:cNvSpPr>
          <p:nvPr>
            <p:ph type="title"/>
          </p:nvPr>
        </p:nvSpPr>
        <p:spPr>
          <a:xfrm>
            <a:off x="667656" y="198866"/>
            <a:ext cx="10871201" cy="1008746"/>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258567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5BC6C-C462-4C77-8B8B-149A545C6D7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9192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151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D97A329-C6E7-4E4C-A599-54D1FA65F733}"/>
              </a:ext>
            </a:extLst>
          </p:cNvPr>
          <p:cNvSpPr>
            <a:spLocks noGrp="1"/>
          </p:cNvSpPr>
          <p:nvPr>
            <p:ph type="title" hasCustomPrompt="1"/>
          </p:nvPr>
        </p:nvSpPr>
        <p:spPr>
          <a:xfrm>
            <a:off x="711200" y="3090672"/>
            <a:ext cx="10798629" cy="1412220"/>
          </a:xfrm>
        </p:spPr>
        <p:txBody>
          <a:bodyPr>
            <a:noAutofit/>
          </a:bodyPr>
          <a:lstStyle>
            <a:lvl1pPr>
              <a:defRPr sz="7200"/>
            </a:lvl1pPr>
          </a:lstStyle>
          <a:p>
            <a:r>
              <a:rPr lang="en-US"/>
              <a:t>Section title</a:t>
            </a:r>
          </a:p>
        </p:txBody>
      </p:sp>
    </p:spTree>
    <p:extLst>
      <p:ext uri="{BB962C8B-B14F-4D97-AF65-F5344CB8AC3E}">
        <p14:creationId xmlns:p14="http://schemas.microsoft.com/office/powerpoint/2010/main" val="119168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8569F4-189D-4DE3-B700-91C2608FB35E}"/>
              </a:ext>
            </a:extLst>
          </p:cNvPr>
          <p:cNvSpPr>
            <a:spLocks noGrp="1"/>
          </p:cNvSpPr>
          <p:nvPr>
            <p:ph type="title"/>
          </p:nvPr>
        </p:nvSpPr>
        <p:spPr>
          <a:xfrm>
            <a:off x="667656" y="198866"/>
            <a:ext cx="10871201" cy="100874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7E91A40-76DA-464C-8D44-4C1AE723B6A9}"/>
              </a:ext>
            </a:extLst>
          </p:cNvPr>
          <p:cNvSpPr>
            <a:spLocks noGrp="1"/>
          </p:cNvSpPr>
          <p:nvPr>
            <p:ph type="body" idx="1"/>
          </p:nvPr>
        </p:nvSpPr>
        <p:spPr>
          <a:xfrm>
            <a:off x="667656" y="1373017"/>
            <a:ext cx="10871201" cy="44181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8FDB1244-756B-4D62-B79B-E4353EB4613D}"/>
              </a:ext>
            </a:extLst>
          </p:cNvPr>
          <p:cNvCxnSpPr>
            <a:cxnSpLocks/>
          </p:cNvCxnSpPr>
          <p:nvPr userDrawn="1"/>
        </p:nvCxnSpPr>
        <p:spPr>
          <a:xfrm>
            <a:off x="420914" y="1207612"/>
            <a:ext cx="11350173" cy="0"/>
          </a:xfrm>
          <a:prstGeom prst="line">
            <a:avLst/>
          </a:prstGeom>
          <a:ln w="25400">
            <a:solidFill>
              <a:schemeClr val="accent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32708544"/>
      </p:ext>
    </p:extLst>
  </p:cSld>
  <p:clrMap bg1="lt1" tx1="dk1" bg2="lt2" tx2="dk2" accent1="accent1" accent2="accent2" accent3="accent3" accent4="accent4" accent5="accent5" accent6="accent6" hlink="hlink" folHlink="folHlink"/>
  <p:sldLayoutIdLst>
    <p:sldLayoutId id="2147483660" r:id="rId1"/>
    <p:sldLayoutId id="2147483650" r:id="rId2"/>
    <p:sldLayoutId id="2147483651" r:id="rId3"/>
    <p:sldLayoutId id="2147483662" r:id="rId4"/>
    <p:sldLayoutId id="2147483652" r:id="rId5"/>
    <p:sldLayoutId id="2147483653" r:id="rId6"/>
    <p:sldLayoutId id="2147483654" r:id="rId7"/>
    <p:sldLayoutId id="2147483655" r:id="rId8"/>
    <p:sldLayoutId id="2147483665" r:id="rId9"/>
    <p:sldLayoutId id="2147483664" r:id="rId10"/>
    <p:sldLayoutId id="2147483666" r:id="rId11"/>
    <p:sldLayoutId id="2147483671" r:id="rId12"/>
    <p:sldLayoutId id="2147483672" r:id="rId13"/>
    <p:sldLayoutId id="2147483656" r:id="rId14"/>
    <p:sldLayoutId id="2147483657" r:id="rId15"/>
    <p:sldLayoutId id="2147483658" r:id="rId16"/>
    <p:sldLayoutId id="2147483659" r:id="rId17"/>
    <p:sldLayoutId id="2147483673" r:id="rId18"/>
    <p:sldLayoutId id="2147483676" r:id="rId19"/>
    <p:sldLayoutId id="2147483677" r:id="rId20"/>
    <p:sldLayoutId id="2147483678"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5.xml"/><Relationship Id="rId18" Type="http://schemas.openxmlformats.org/officeDocument/2006/relationships/image" Target="../media/image27.w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8.xml"/><Relationship Id="rId17" Type="http://schemas.openxmlformats.org/officeDocument/2006/relationships/image" Target="../media/image26.png"/><Relationship Id="rId2" Type="http://schemas.openxmlformats.org/officeDocument/2006/relationships/tags" Target="../tags/tag4.xml"/><Relationship Id="rId16" Type="http://schemas.openxmlformats.org/officeDocument/2006/relationships/image" Target="../media/image25.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image" Target="../media/image24.emf"/><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5.jp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hyperlink" Target="https://customers.microsoft.com/en-us/story/857107-nestle-consumer-goods-azure-power-bi" TargetMode="External"/><Relationship Id="rId3" Type="http://schemas.openxmlformats.org/officeDocument/2006/relationships/hyperlink" Target="https://docs.microsoft.com/en-us/power-bi/guidance/powerbi-adoption-roadmap-overview" TargetMode="External"/><Relationship Id="rId7" Type="http://schemas.openxmlformats.org/officeDocument/2006/relationships/hyperlink" Target="https://github.com/pbiaf/powerbiadoption"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ssbipolar.com/building-a-data-culture/" TargetMode="External"/><Relationship Id="rId5" Type="http://schemas.openxmlformats.org/officeDocument/2006/relationships/hyperlink" Target="https://aka.ms/PBIEnterpriseDeploymentWP" TargetMode="External"/><Relationship Id="rId4" Type="http://schemas.openxmlformats.org/officeDocument/2006/relationships/hyperlink" Target="https://docs.microsoft.com/en-us/power-bi/guidance/"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slideLayout" Target="../slideLayouts/slideLayout18.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customXml" Target="../ink/ink2.xml"/><Relationship Id="rId12"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7.png"/><Relationship Id="rId11" Type="http://schemas.openxmlformats.org/officeDocument/2006/relationships/customXml" Target="../ink/ink4.xml"/><Relationship Id="rId5" Type="http://schemas.openxmlformats.org/officeDocument/2006/relationships/customXml" Target="../ink/ink1.xml"/><Relationship Id="rId10" Type="http://schemas.openxmlformats.org/officeDocument/2006/relationships/image" Target="../media/image19.png"/><Relationship Id="rId4" Type="http://schemas.openxmlformats.org/officeDocument/2006/relationships/image" Target="../media/image16.png"/><Relationship Id="rId9" Type="http://schemas.openxmlformats.org/officeDocument/2006/relationships/customXml" Target="../ink/ink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CD08BC-E44E-4C81-8A67-EA9E59B7F193}"/>
              </a:ext>
            </a:extLst>
          </p:cNvPr>
          <p:cNvSpPr>
            <a:spLocks noGrp="1"/>
          </p:cNvSpPr>
          <p:nvPr>
            <p:ph type="title"/>
          </p:nvPr>
        </p:nvSpPr>
        <p:spPr>
          <a:xfrm>
            <a:off x="299461" y="505381"/>
            <a:ext cx="7364989" cy="3677683"/>
          </a:xfrm>
        </p:spPr>
        <p:txBody>
          <a:bodyPr>
            <a:normAutofit/>
          </a:bodyPr>
          <a:lstStyle/>
          <a:p>
            <a:r>
              <a:rPr lang="en-US" sz="5400" b="1" dirty="0"/>
              <a:t>Building a Data Culture with Power BI</a:t>
            </a:r>
            <a:br>
              <a:rPr lang="en-US" sz="5400" dirty="0"/>
            </a:br>
            <a:br>
              <a:rPr lang="en-US" sz="5400" dirty="0"/>
            </a:br>
            <a:r>
              <a:rPr lang="en-US" sz="2800" dirty="0"/>
              <a:t>Des Moines Power BI User Group</a:t>
            </a:r>
            <a:br>
              <a:rPr lang="en-US" sz="2800" dirty="0"/>
            </a:br>
            <a:r>
              <a:rPr lang="en-US" sz="2800" dirty="0"/>
              <a:t>December 8, 2021</a:t>
            </a:r>
            <a:endParaRPr lang="en-US" sz="5400" dirty="0"/>
          </a:p>
        </p:txBody>
      </p:sp>
      <p:sp>
        <p:nvSpPr>
          <p:cNvPr id="5" name="Text Placeholder 4">
            <a:extLst>
              <a:ext uri="{FF2B5EF4-FFF2-40B4-BE49-F238E27FC236}">
                <a16:creationId xmlns:a16="http://schemas.microsoft.com/office/drawing/2014/main" id="{A8E0CCDC-B809-4657-B42A-97132F520792}"/>
              </a:ext>
            </a:extLst>
          </p:cNvPr>
          <p:cNvSpPr>
            <a:spLocks noGrp="1"/>
          </p:cNvSpPr>
          <p:nvPr>
            <p:ph type="body" idx="1"/>
          </p:nvPr>
        </p:nvSpPr>
        <p:spPr>
          <a:xfrm>
            <a:off x="299461" y="4735514"/>
            <a:ext cx="5830207" cy="1962256"/>
          </a:xfrm>
        </p:spPr>
        <p:txBody>
          <a:bodyPr>
            <a:normAutofit/>
          </a:bodyPr>
          <a:lstStyle/>
          <a:p>
            <a:r>
              <a:rPr lang="en-US" sz="3200" dirty="0"/>
              <a:t>Matthew Roche</a:t>
            </a:r>
          </a:p>
          <a:p>
            <a:r>
              <a:rPr lang="en-US" dirty="0"/>
              <a:t>Principal Program Manager</a:t>
            </a:r>
            <a:br>
              <a:rPr lang="en-US" dirty="0"/>
            </a:br>
            <a:r>
              <a:rPr lang="en-US" dirty="0"/>
              <a:t>Microsoft</a:t>
            </a:r>
          </a:p>
          <a:p>
            <a:r>
              <a:rPr lang="en-US" dirty="0"/>
              <a:t>@SQLAllFather   |   https://ssbipolar.com/</a:t>
            </a:r>
          </a:p>
        </p:txBody>
      </p:sp>
    </p:spTree>
    <p:extLst>
      <p:ext uri="{BB962C8B-B14F-4D97-AF65-F5344CB8AC3E}">
        <p14:creationId xmlns:p14="http://schemas.microsoft.com/office/powerpoint/2010/main" val="2923537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Top Tip:</a:t>
            </a:r>
            <a:br>
              <a:rPr lang="en-US" dirty="0"/>
            </a:br>
            <a:r>
              <a:rPr lang="en-US" dirty="0"/>
              <a:t>Executive sponsorship</a:t>
            </a:r>
          </a:p>
        </p:txBody>
      </p:sp>
    </p:spTree>
    <p:extLst>
      <p:ext uri="{BB962C8B-B14F-4D97-AF65-F5344CB8AC3E}">
        <p14:creationId xmlns:p14="http://schemas.microsoft.com/office/powerpoint/2010/main" val="349256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E7513-9C72-4880-824F-61002454C2BD}"/>
              </a:ext>
            </a:extLst>
          </p:cNvPr>
          <p:cNvSpPr>
            <a:spLocks noGrp="1"/>
          </p:cNvSpPr>
          <p:nvPr>
            <p:ph type="title"/>
          </p:nvPr>
        </p:nvSpPr>
        <p:spPr/>
        <p:txBody>
          <a:bodyPr/>
          <a:lstStyle/>
          <a:p>
            <a:r>
              <a:rPr lang="en-US" dirty="0"/>
              <a:t>Without an executive sponsor, you will fail</a:t>
            </a:r>
          </a:p>
        </p:txBody>
      </p:sp>
      <p:pic>
        <p:nvPicPr>
          <p:cNvPr id="4" name="Graphic 3" descr="Radio microphone with solid fill">
            <a:extLst>
              <a:ext uri="{FF2B5EF4-FFF2-40B4-BE49-F238E27FC236}">
                <a16:creationId xmlns:a16="http://schemas.microsoft.com/office/drawing/2014/main" id="{7412844D-4DE9-4C9F-897A-A74AAF08A3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3179" y="-1305956"/>
            <a:ext cx="914400" cy="914400"/>
          </a:xfrm>
          <a:prstGeom prst="rect">
            <a:avLst/>
          </a:prstGeom>
        </p:spPr>
      </p:pic>
    </p:spTree>
    <p:extLst>
      <p:ext uri="{BB962C8B-B14F-4D97-AF65-F5344CB8AC3E}">
        <p14:creationId xmlns:p14="http://schemas.microsoft.com/office/powerpoint/2010/main" val="1934967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E7513-9C72-4880-824F-61002454C2BD}"/>
              </a:ext>
            </a:extLst>
          </p:cNvPr>
          <p:cNvSpPr>
            <a:spLocks noGrp="1"/>
          </p:cNvSpPr>
          <p:nvPr>
            <p:ph type="title"/>
          </p:nvPr>
        </p:nvSpPr>
        <p:spPr/>
        <p:txBody>
          <a:bodyPr/>
          <a:lstStyle/>
          <a:p>
            <a:r>
              <a:rPr lang="en-US" dirty="0"/>
              <a:t>Without an executive sponsor, you will fail</a:t>
            </a:r>
          </a:p>
        </p:txBody>
      </p:sp>
      <p:pic>
        <p:nvPicPr>
          <p:cNvPr id="4" name="Graphic 3" descr="Radio microphone with solid fill">
            <a:extLst>
              <a:ext uri="{FF2B5EF4-FFF2-40B4-BE49-F238E27FC236}">
                <a16:creationId xmlns:a16="http://schemas.microsoft.com/office/drawing/2014/main" id="{7412844D-4DE9-4C9F-897A-A74AAF08A3E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10303179" y="4702930"/>
            <a:ext cx="914400" cy="914400"/>
          </a:xfrm>
          <a:prstGeom prst="rect">
            <a:avLst/>
          </a:prstGeom>
        </p:spPr>
      </p:pic>
    </p:spTree>
    <p:extLst>
      <p:ext uri="{BB962C8B-B14F-4D97-AF65-F5344CB8AC3E}">
        <p14:creationId xmlns:p14="http://schemas.microsoft.com/office/powerpoint/2010/main" val="813387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DF82B9-2C11-4840-AC5E-AA4F4FB72244}"/>
              </a:ext>
            </a:extLst>
          </p:cNvPr>
          <p:cNvSpPr>
            <a:spLocks noGrp="1"/>
          </p:cNvSpPr>
          <p:nvPr>
            <p:ph type="title"/>
          </p:nvPr>
        </p:nvSpPr>
        <p:spPr/>
        <p:txBody>
          <a:bodyPr/>
          <a:lstStyle/>
          <a:p>
            <a:r>
              <a:rPr lang="en-US" dirty="0"/>
              <a:t>Executive sponsorship</a:t>
            </a:r>
          </a:p>
        </p:txBody>
      </p:sp>
      <p:sp>
        <p:nvSpPr>
          <p:cNvPr id="4" name="Content Placeholder 3">
            <a:extLst>
              <a:ext uri="{FF2B5EF4-FFF2-40B4-BE49-F238E27FC236}">
                <a16:creationId xmlns:a16="http://schemas.microsoft.com/office/drawing/2014/main" id="{52DD5A8E-A799-4BBE-9139-12F111521FE8}"/>
              </a:ext>
            </a:extLst>
          </p:cNvPr>
          <p:cNvSpPr>
            <a:spLocks noGrp="1"/>
          </p:cNvSpPr>
          <p:nvPr>
            <p:ph sz="half" idx="1"/>
          </p:nvPr>
        </p:nvSpPr>
        <p:spPr>
          <a:xfrm>
            <a:off x="667656" y="1393371"/>
            <a:ext cx="5300240" cy="4439393"/>
          </a:xfrm>
        </p:spPr>
        <p:txBody>
          <a:bodyPr>
            <a:normAutofit/>
          </a:bodyPr>
          <a:lstStyle/>
          <a:p>
            <a:pPr marL="0" indent="0">
              <a:buNone/>
            </a:pPr>
            <a:r>
              <a:rPr lang="en-US" dirty="0"/>
              <a:t>The scope of a data culture is typically defined by the authority </a:t>
            </a:r>
            <a:r>
              <a:rPr lang="en-US"/>
              <a:t>of its </a:t>
            </a:r>
            <a:r>
              <a:rPr lang="en-US" dirty="0"/>
              <a:t>executive sponsor.</a:t>
            </a:r>
          </a:p>
          <a:p>
            <a:pPr marL="0" indent="0">
              <a:buNone/>
            </a:pPr>
            <a:r>
              <a:rPr lang="en-US" sz="1000" dirty="0"/>
              <a:t> </a:t>
            </a:r>
          </a:p>
          <a:p>
            <a:pPr marL="0" indent="0">
              <a:buNone/>
            </a:pPr>
            <a:r>
              <a:rPr lang="en-US" dirty="0"/>
              <a:t>Lacking executive sponsorship is like running a marathon in sand: everything is much harder than it needs to be, no one wants to sign up, and the whole thing typically ends with disappointment for the people who tried the hardest.</a:t>
            </a:r>
          </a:p>
        </p:txBody>
      </p:sp>
      <p:sp>
        <p:nvSpPr>
          <p:cNvPr id="5" name="Content Placeholder 4">
            <a:extLst>
              <a:ext uri="{FF2B5EF4-FFF2-40B4-BE49-F238E27FC236}">
                <a16:creationId xmlns:a16="http://schemas.microsoft.com/office/drawing/2014/main" id="{BFE39A22-5E81-42E3-BEB9-FF25DD6C942E}"/>
              </a:ext>
            </a:extLst>
          </p:cNvPr>
          <p:cNvSpPr>
            <a:spLocks noGrp="1"/>
          </p:cNvSpPr>
          <p:nvPr>
            <p:ph sz="half" idx="2"/>
          </p:nvPr>
        </p:nvSpPr>
        <p:spPr/>
        <p:txBody>
          <a:bodyPr>
            <a:normAutofit/>
          </a:bodyPr>
          <a:lstStyle/>
          <a:p>
            <a:endParaRPr lang="en-US"/>
          </a:p>
        </p:txBody>
      </p:sp>
      <p:pic>
        <p:nvPicPr>
          <p:cNvPr id="1026" name="Picture 2">
            <a:extLst>
              <a:ext uri="{FF2B5EF4-FFF2-40B4-BE49-F238E27FC236}">
                <a16:creationId xmlns:a16="http://schemas.microsoft.com/office/drawing/2014/main" id="{9A3BBC7B-70F0-4267-9129-49BA36144F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2199" y="1393371"/>
            <a:ext cx="5352320" cy="3682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696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Building a data culture:</a:t>
            </a:r>
            <a:br>
              <a:rPr lang="en-US" dirty="0"/>
            </a:br>
            <a:r>
              <a:rPr lang="en-US" dirty="0"/>
              <a:t>The easy part</a:t>
            </a:r>
          </a:p>
        </p:txBody>
      </p:sp>
    </p:spTree>
    <p:extLst>
      <p:ext uri="{BB962C8B-B14F-4D97-AF65-F5344CB8AC3E}">
        <p14:creationId xmlns:p14="http://schemas.microsoft.com/office/powerpoint/2010/main" val="1201918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90ADC8CE-FDB2-422E-99A5-761B7A573449}"/>
              </a:ext>
            </a:extLst>
          </p:cNvPr>
          <p:cNvSpPr/>
          <p:nvPr/>
        </p:nvSpPr>
        <p:spPr>
          <a:xfrm>
            <a:off x="5585690" y="714777"/>
            <a:ext cx="1103386" cy="986128"/>
          </a:xfrm>
          <a:custGeom>
            <a:avLst/>
            <a:gdLst>
              <a:gd name="connsiteX0" fmla="*/ 551693 w 1103386"/>
              <a:gd name="connsiteY0" fmla="*/ 0 h 986128"/>
              <a:gd name="connsiteX1" fmla="*/ 1103386 w 1103386"/>
              <a:gd name="connsiteY1" fmla="*/ 986128 h 986128"/>
              <a:gd name="connsiteX2" fmla="*/ 0 w 1103386"/>
              <a:gd name="connsiteY2" fmla="*/ 986128 h 986128"/>
            </a:gdLst>
            <a:ahLst/>
            <a:cxnLst>
              <a:cxn ang="0">
                <a:pos x="connsiteX0" y="connsiteY0"/>
              </a:cxn>
              <a:cxn ang="0">
                <a:pos x="connsiteX1" y="connsiteY1"/>
              </a:cxn>
              <a:cxn ang="0">
                <a:pos x="connsiteX2" y="connsiteY2"/>
              </a:cxn>
            </a:cxnLst>
            <a:rect l="l" t="t" r="r" b="b"/>
            <a:pathLst>
              <a:path w="1103386" h="986128">
                <a:moveTo>
                  <a:pt x="551693" y="0"/>
                </a:moveTo>
                <a:lnTo>
                  <a:pt x="1103386" y="986128"/>
                </a:lnTo>
                <a:lnTo>
                  <a:pt x="0" y="986128"/>
                </a:lnTo>
                <a:close/>
              </a:path>
            </a:pathLst>
          </a:custGeom>
          <a:solidFill>
            <a:srgbClr val="F2C811"/>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540A9DA5-150F-4097-9B98-0ADE9C42019C}"/>
              </a:ext>
            </a:extLst>
          </p:cNvPr>
          <p:cNvSpPr/>
          <p:nvPr/>
        </p:nvSpPr>
        <p:spPr>
          <a:xfrm>
            <a:off x="5026039" y="1715127"/>
            <a:ext cx="2222688" cy="986128"/>
          </a:xfrm>
          <a:custGeom>
            <a:avLst/>
            <a:gdLst>
              <a:gd name="connsiteX0" fmla="*/ 551694 w 2222688"/>
              <a:gd name="connsiteY0" fmla="*/ 0 h 986128"/>
              <a:gd name="connsiteX1" fmla="*/ 1670994 w 2222688"/>
              <a:gd name="connsiteY1" fmla="*/ 0 h 986128"/>
              <a:gd name="connsiteX2" fmla="*/ 2222688 w 2222688"/>
              <a:gd name="connsiteY2" fmla="*/ 986128 h 986128"/>
              <a:gd name="connsiteX3" fmla="*/ 0 w 2222688"/>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2222688" h="986128">
                <a:moveTo>
                  <a:pt x="551694" y="0"/>
                </a:moveTo>
                <a:lnTo>
                  <a:pt x="1670994" y="0"/>
                </a:lnTo>
                <a:lnTo>
                  <a:pt x="2222688" y="986128"/>
                </a:lnTo>
                <a:lnTo>
                  <a:pt x="0" y="986128"/>
                </a:lnTo>
                <a:close/>
              </a:path>
            </a:pathLst>
          </a:custGeom>
          <a:solidFill>
            <a:srgbClr val="F2C811">
              <a:alpha val="65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4A61E59B-6FC8-48BB-9D2C-F446067D04AF}"/>
              </a:ext>
            </a:extLst>
          </p:cNvPr>
          <p:cNvSpPr/>
          <p:nvPr/>
        </p:nvSpPr>
        <p:spPr>
          <a:xfrm>
            <a:off x="4466389" y="2715477"/>
            <a:ext cx="3341989" cy="986128"/>
          </a:xfrm>
          <a:custGeom>
            <a:avLst/>
            <a:gdLst>
              <a:gd name="connsiteX0" fmla="*/ 551694 w 3341989"/>
              <a:gd name="connsiteY0" fmla="*/ 0 h 986128"/>
              <a:gd name="connsiteX1" fmla="*/ 2790296 w 3341989"/>
              <a:gd name="connsiteY1" fmla="*/ 0 h 986128"/>
              <a:gd name="connsiteX2" fmla="*/ 3341989 w 3341989"/>
              <a:gd name="connsiteY2" fmla="*/ 986128 h 986128"/>
              <a:gd name="connsiteX3" fmla="*/ 0 w 3341989"/>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3341989" h="986128">
                <a:moveTo>
                  <a:pt x="551694" y="0"/>
                </a:moveTo>
                <a:lnTo>
                  <a:pt x="2790296" y="0"/>
                </a:lnTo>
                <a:lnTo>
                  <a:pt x="3341989" y="986128"/>
                </a:lnTo>
                <a:lnTo>
                  <a:pt x="0" y="986128"/>
                </a:lnTo>
                <a:close/>
              </a:path>
            </a:pathLst>
          </a:custGeom>
          <a:solidFill>
            <a:srgbClr val="F2C811">
              <a:alpha val="45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6371400-E5A4-47B3-8BDC-3E5C863607DC}"/>
              </a:ext>
            </a:extLst>
          </p:cNvPr>
          <p:cNvSpPr/>
          <p:nvPr/>
        </p:nvSpPr>
        <p:spPr>
          <a:xfrm>
            <a:off x="3906738" y="3715827"/>
            <a:ext cx="4461290" cy="986128"/>
          </a:xfrm>
          <a:custGeom>
            <a:avLst/>
            <a:gdLst>
              <a:gd name="connsiteX0" fmla="*/ 551693 w 4461290"/>
              <a:gd name="connsiteY0" fmla="*/ 0 h 986128"/>
              <a:gd name="connsiteX1" fmla="*/ 3909596 w 4461290"/>
              <a:gd name="connsiteY1" fmla="*/ 0 h 986128"/>
              <a:gd name="connsiteX2" fmla="*/ 4461290 w 4461290"/>
              <a:gd name="connsiteY2" fmla="*/ 986128 h 986128"/>
              <a:gd name="connsiteX3" fmla="*/ 0 w 4461290"/>
              <a:gd name="connsiteY3" fmla="*/ 986128 h 986128"/>
            </a:gdLst>
            <a:ahLst/>
            <a:cxnLst>
              <a:cxn ang="0">
                <a:pos x="connsiteX0" y="connsiteY0"/>
              </a:cxn>
              <a:cxn ang="0">
                <a:pos x="connsiteX1" y="connsiteY1"/>
              </a:cxn>
              <a:cxn ang="0">
                <a:pos x="connsiteX2" y="connsiteY2"/>
              </a:cxn>
              <a:cxn ang="0">
                <a:pos x="connsiteX3" y="connsiteY3"/>
              </a:cxn>
            </a:cxnLst>
            <a:rect l="l" t="t" r="r" b="b"/>
            <a:pathLst>
              <a:path w="4461290" h="986128">
                <a:moveTo>
                  <a:pt x="551693" y="0"/>
                </a:moveTo>
                <a:lnTo>
                  <a:pt x="3909596" y="0"/>
                </a:lnTo>
                <a:lnTo>
                  <a:pt x="4461290" y="986128"/>
                </a:lnTo>
                <a:lnTo>
                  <a:pt x="0" y="986128"/>
                </a:lnTo>
                <a:close/>
              </a:path>
            </a:pathLst>
          </a:custGeom>
          <a:solidFill>
            <a:srgbClr val="F2C811">
              <a:alpha val="30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EFADB998-D455-42D7-9A07-04831BA42409}"/>
              </a:ext>
            </a:extLst>
          </p:cNvPr>
          <p:cNvSpPr/>
          <p:nvPr/>
        </p:nvSpPr>
        <p:spPr>
          <a:xfrm>
            <a:off x="3349288" y="4725606"/>
            <a:ext cx="5576191" cy="982197"/>
          </a:xfrm>
          <a:custGeom>
            <a:avLst/>
            <a:gdLst>
              <a:gd name="connsiteX0" fmla="*/ 549495 w 5576191"/>
              <a:gd name="connsiteY0" fmla="*/ 0 h 982197"/>
              <a:gd name="connsiteX1" fmla="*/ 5026697 w 5576191"/>
              <a:gd name="connsiteY1" fmla="*/ 0 h 982197"/>
              <a:gd name="connsiteX2" fmla="*/ 5576191 w 5576191"/>
              <a:gd name="connsiteY2" fmla="*/ 982197 h 982197"/>
              <a:gd name="connsiteX3" fmla="*/ 0 w 5576191"/>
              <a:gd name="connsiteY3" fmla="*/ 982197 h 982197"/>
            </a:gdLst>
            <a:ahLst/>
            <a:cxnLst>
              <a:cxn ang="0">
                <a:pos x="connsiteX0" y="connsiteY0"/>
              </a:cxn>
              <a:cxn ang="0">
                <a:pos x="connsiteX1" y="connsiteY1"/>
              </a:cxn>
              <a:cxn ang="0">
                <a:pos x="connsiteX2" y="connsiteY2"/>
              </a:cxn>
              <a:cxn ang="0">
                <a:pos x="connsiteX3" y="connsiteY3"/>
              </a:cxn>
            </a:cxnLst>
            <a:rect l="l" t="t" r="r" b="b"/>
            <a:pathLst>
              <a:path w="5576191" h="982197">
                <a:moveTo>
                  <a:pt x="549495" y="0"/>
                </a:moveTo>
                <a:lnTo>
                  <a:pt x="5026697" y="0"/>
                </a:lnTo>
                <a:lnTo>
                  <a:pt x="5576191" y="982197"/>
                </a:lnTo>
                <a:lnTo>
                  <a:pt x="0" y="982197"/>
                </a:lnTo>
                <a:close/>
              </a:path>
            </a:pathLst>
          </a:custGeom>
          <a:solidFill>
            <a:srgbClr val="F2C811">
              <a:alpha val="10000"/>
            </a:srgbClr>
          </a:solidFill>
          <a:ln w="19050" cap="flat" cmpd="sng" algn="ctr">
            <a:noFill/>
            <a:prstDash val="solid"/>
          </a:ln>
          <a:effectLst/>
        </p:spPr>
        <p:txBody>
          <a:bodyPr wrap="square" rtlCol="0" anchor="ctr">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5" name="TextBox 54">
            <a:extLst>
              <a:ext uri="{FF2B5EF4-FFF2-40B4-BE49-F238E27FC236}">
                <a16:creationId xmlns:a16="http://schemas.microsoft.com/office/drawing/2014/main" id="{D63EDDE2-94C3-492A-A59F-4BAD9AF18E72}"/>
              </a:ext>
            </a:extLst>
          </p:cNvPr>
          <p:cNvSpPr txBox="1"/>
          <p:nvPr/>
        </p:nvSpPr>
        <p:spPr>
          <a:xfrm>
            <a:off x="5875132" y="1246997"/>
            <a:ext cx="524503" cy="276999"/>
          </a:xfrm>
          <a:prstGeom prst="rect">
            <a:avLst/>
          </a:prstGeom>
          <a:noFill/>
        </p:spPr>
        <p:txBody>
          <a:bodyPr wrap="none" rtlCol="0">
            <a:spAutoFit/>
          </a:bodyPr>
          <a:lstStyle/>
          <a:p>
            <a:pP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EDW</a:t>
            </a:r>
          </a:p>
        </p:txBody>
      </p:sp>
      <p:sp>
        <p:nvSpPr>
          <p:cNvPr id="56" name="TextBox 55">
            <a:extLst>
              <a:ext uri="{FF2B5EF4-FFF2-40B4-BE49-F238E27FC236}">
                <a16:creationId xmlns:a16="http://schemas.microsoft.com/office/drawing/2014/main" id="{5D88F45D-9042-4DC7-8D30-B214DDA82936}"/>
              </a:ext>
            </a:extLst>
          </p:cNvPr>
          <p:cNvSpPr txBox="1"/>
          <p:nvPr/>
        </p:nvSpPr>
        <p:spPr>
          <a:xfrm>
            <a:off x="5322095" y="1893243"/>
            <a:ext cx="1630576" cy="646331"/>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BUSINESS UNIT</a:t>
            </a:r>
          </a:p>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DASHBOARDS, KPIS </a:t>
            </a:r>
            <a:br>
              <a:rPr lang="en-US" sz="1200" kern="0" dirty="0">
                <a:solidFill>
                  <a:sysClr val="windowText" lastClr="000000"/>
                </a:solidFill>
                <a:latin typeface="Segoe UI Semibold" panose="020B0702040204020203"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cs typeface="Segoe UI Semibold" panose="020B0702040204020203" pitchFamily="34" charset="0"/>
              </a:rPr>
              <a:t>&amp; SCORECARDS</a:t>
            </a:r>
          </a:p>
        </p:txBody>
      </p:sp>
      <p:sp>
        <p:nvSpPr>
          <p:cNvPr id="57" name="TextBox 56">
            <a:extLst>
              <a:ext uri="{FF2B5EF4-FFF2-40B4-BE49-F238E27FC236}">
                <a16:creationId xmlns:a16="http://schemas.microsoft.com/office/drawing/2014/main" id="{832ED677-52BD-4DA1-8727-B159F289BB23}"/>
              </a:ext>
            </a:extLst>
          </p:cNvPr>
          <p:cNvSpPr txBox="1"/>
          <p:nvPr/>
        </p:nvSpPr>
        <p:spPr>
          <a:xfrm>
            <a:off x="5195458" y="2981782"/>
            <a:ext cx="1883850" cy="461665"/>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DEPARTMENTAL, TEAM </a:t>
            </a:r>
            <a:br>
              <a:rPr lang="en-US" sz="1200" kern="0" dirty="0">
                <a:solidFill>
                  <a:sysClr val="windowText" lastClr="000000"/>
                </a:solidFill>
                <a:latin typeface="Segoe UI Semibold" panose="020B0702040204020203" pitchFamily="34" charset="0"/>
                <a:cs typeface="Segoe UI Semibold" panose="020B0702040204020203" pitchFamily="34" charset="0"/>
              </a:rPr>
            </a:br>
            <a:r>
              <a:rPr lang="en-US" sz="1200" kern="0" dirty="0">
                <a:solidFill>
                  <a:sysClr val="windowText" lastClr="000000"/>
                </a:solidFill>
                <a:latin typeface="Segoe UI Semibold" panose="020B0702040204020203" pitchFamily="34" charset="0"/>
                <a:cs typeface="Segoe UI Semibold" panose="020B0702040204020203" pitchFamily="34" charset="0"/>
              </a:rPr>
              <a:t>OR GROUP REPORTING</a:t>
            </a:r>
          </a:p>
        </p:txBody>
      </p:sp>
      <p:sp>
        <p:nvSpPr>
          <p:cNvPr id="58" name="TextBox 57">
            <a:extLst>
              <a:ext uri="{FF2B5EF4-FFF2-40B4-BE49-F238E27FC236}">
                <a16:creationId xmlns:a16="http://schemas.microsoft.com/office/drawing/2014/main" id="{153F84BC-318F-48FE-BC99-8699587B2F2E}"/>
              </a:ext>
            </a:extLst>
          </p:cNvPr>
          <p:cNvSpPr txBox="1"/>
          <p:nvPr/>
        </p:nvSpPr>
        <p:spPr>
          <a:xfrm>
            <a:off x="5294043" y="4077521"/>
            <a:ext cx="1686680" cy="276999"/>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PROJECT REPORTING</a:t>
            </a:r>
          </a:p>
        </p:txBody>
      </p:sp>
      <p:sp>
        <p:nvSpPr>
          <p:cNvPr id="59" name="TextBox 58">
            <a:extLst>
              <a:ext uri="{FF2B5EF4-FFF2-40B4-BE49-F238E27FC236}">
                <a16:creationId xmlns:a16="http://schemas.microsoft.com/office/drawing/2014/main" id="{929C80E4-C577-43B8-A567-0E66AB473CE2}"/>
              </a:ext>
            </a:extLst>
          </p:cNvPr>
          <p:cNvSpPr txBox="1"/>
          <p:nvPr/>
        </p:nvSpPr>
        <p:spPr>
          <a:xfrm>
            <a:off x="5225114" y="5085429"/>
            <a:ext cx="1824538" cy="276999"/>
          </a:xfrm>
          <a:prstGeom prst="rect">
            <a:avLst/>
          </a:prstGeom>
          <a:noFill/>
        </p:spPr>
        <p:txBody>
          <a:bodyPr wrap="none" rtlCol="0">
            <a:spAutoFit/>
          </a:bodyPr>
          <a:lstStyle/>
          <a:p>
            <a:pPr algn="ctr" defTabSz="932597"/>
            <a:r>
              <a:rPr lang="en-US" sz="1200" kern="0" dirty="0">
                <a:solidFill>
                  <a:sysClr val="windowText" lastClr="000000"/>
                </a:solidFill>
                <a:latin typeface="Segoe UI Semibold" panose="020B0702040204020203" pitchFamily="34" charset="0"/>
                <a:cs typeface="Segoe UI Semibold" panose="020B0702040204020203" pitchFamily="34" charset="0"/>
              </a:rPr>
              <a:t>PERSONAL REPORTING</a:t>
            </a:r>
          </a:p>
        </p:txBody>
      </p:sp>
      <p:sp>
        <p:nvSpPr>
          <p:cNvPr id="60" name="TextBox 59">
            <a:extLst>
              <a:ext uri="{FF2B5EF4-FFF2-40B4-BE49-F238E27FC236}">
                <a16:creationId xmlns:a16="http://schemas.microsoft.com/office/drawing/2014/main" id="{625F7A5B-C3D1-48F0-BE39-710EDBA98FF0}"/>
              </a:ext>
            </a:extLst>
          </p:cNvPr>
          <p:cNvSpPr txBox="1"/>
          <p:nvPr/>
        </p:nvSpPr>
        <p:spPr>
          <a:xfrm>
            <a:off x="6611588" y="532698"/>
            <a:ext cx="2169184" cy="338554"/>
          </a:xfrm>
          <a:prstGeom prst="rect">
            <a:avLst/>
          </a:prstGeom>
          <a:noFill/>
        </p:spPr>
        <p:txBody>
          <a:bodyPr wrap="none" rtlCol="0">
            <a:spAutoFit/>
          </a:bodyPr>
          <a:lstStyle/>
          <a:p>
            <a:pPr defTabSz="932597"/>
            <a:r>
              <a:rPr lang="en-US" sz="1600" b="1" kern="0" dirty="0">
                <a:gradFill>
                  <a:gsLst>
                    <a:gs pos="2917">
                      <a:srgbClr val="000000"/>
                    </a:gs>
                    <a:gs pos="100000">
                      <a:srgbClr val="000000"/>
                    </a:gs>
                  </a:gsLst>
                  <a:lin ang="5400000" scaled="0"/>
                </a:gradFill>
                <a:cs typeface="Segoe UI Semibold" panose="020B0702040204020203" pitchFamily="34" charset="0"/>
              </a:rPr>
              <a:t>TIGHTER CONTROLS</a:t>
            </a:r>
          </a:p>
        </p:txBody>
      </p:sp>
      <p:sp>
        <p:nvSpPr>
          <p:cNvPr id="61" name="TextBox 60">
            <a:extLst>
              <a:ext uri="{FF2B5EF4-FFF2-40B4-BE49-F238E27FC236}">
                <a16:creationId xmlns:a16="http://schemas.microsoft.com/office/drawing/2014/main" id="{C226A2BB-0E93-4A97-91A9-ED8FA0AC93EA}"/>
              </a:ext>
            </a:extLst>
          </p:cNvPr>
          <p:cNvSpPr txBox="1"/>
          <p:nvPr/>
        </p:nvSpPr>
        <p:spPr>
          <a:xfrm>
            <a:off x="9338123" y="5449043"/>
            <a:ext cx="2090637" cy="338554"/>
          </a:xfrm>
          <a:prstGeom prst="rect">
            <a:avLst/>
          </a:prstGeom>
          <a:noFill/>
        </p:spPr>
        <p:txBody>
          <a:bodyPr wrap="none" rtlCol="0">
            <a:spAutoFit/>
          </a:bodyPr>
          <a:lstStyle/>
          <a:p>
            <a:pPr defTabSz="932597"/>
            <a:r>
              <a:rPr lang="en-US" sz="1600" b="1" kern="0" dirty="0">
                <a:gradFill>
                  <a:gsLst>
                    <a:gs pos="2917">
                      <a:srgbClr val="000000"/>
                    </a:gs>
                    <a:gs pos="100000">
                      <a:srgbClr val="000000"/>
                    </a:gs>
                  </a:gsLst>
                  <a:lin ang="5400000" scaled="0"/>
                </a:gradFill>
                <a:cs typeface="Segoe UI Semibold" panose="020B0702040204020203" pitchFamily="34" charset="0"/>
              </a:rPr>
              <a:t>LOOSER CONTROLS</a:t>
            </a:r>
          </a:p>
        </p:txBody>
      </p:sp>
      <p:sp>
        <p:nvSpPr>
          <p:cNvPr id="62" name="TextBox 61">
            <a:extLst>
              <a:ext uri="{FF2B5EF4-FFF2-40B4-BE49-F238E27FC236}">
                <a16:creationId xmlns:a16="http://schemas.microsoft.com/office/drawing/2014/main" id="{32734F2A-6E73-484D-B795-A2035617415A}"/>
              </a:ext>
            </a:extLst>
          </p:cNvPr>
          <p:cNvSpPr txBox="1"/>
          <p:nvPr/>
        </p:nvSpPr>
        <p:spPr>
          <a:xfrm>
            <a:off x="667165" y="4481800"/>
            <a:ext cx="2669417" cy="612475"/>
          </a:xfrm>
          <a:prstGeom prst="rect">
            <a:avLst/>
          </a:prstGeom>
          <a:noFill/>
        </p:spPr>
        <p:txBody>
          <a:bodyPr wrap="square" rtlCol="0">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ersonal/Private views</a:t>
            </a:r>
          </a:p>
          <a:p>
            <a:pPr marL="0" marR="0" lvl="0" indent="0" algn="r" defTabSz="932597"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Data science exploration</a:t>
            </a:r>
          </a:p>
        </p:txBody>
      </p:sp>
      <p:sp>
        <p:nvSpPr>
          <p:cNvPr id="63" name="TextBox 62">
            <a:extLst>
              <a:ext uri="{FF2B5EF4-FFF2-40B4-BE49-F238E27FC236}">
                <a16:creationId xmlns:a16="http://schemas.microsoft.com/office/drawing/2014/main" id="{A10F0B65-A02A-4EF5-8448-3C6BC6FF91CA}"/>
              </a:ext>
            </a:extLst>
          </p:cNvPr>
          <p:cNvSpPr txBox="1"/>
          <p:nvPr/>
        </p:nvSpPr>
        <p:spPr>
          <a:xfrm>
            <a:off x="1682809" y="2788448"/>
            <a:ext cx="2421014" cy="911019"/>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ush up content</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ower BI Desktop</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Excel or other reports</a:t>
            </a:r>
          </a:p>
        </p:txBody>
      </p:sp>
      <p:sp>
        <p:nvSpPr>
          <p:cNvPr id="64" name="TextBox 63">
            <a:extLst>
              <a:ext uri="{FF2B5EF4-FFF2-40B4-BE49-F238E27FC236}">
                <a16:creationId xmlns:a16="http://schemas.microsoft.com/office/drawing/2014/main" id="{DDEF816C-DBC3-4D32-A390-82CF686C48B6}"/>
              </a:ext>
            </a:extLst>
          </p:cNvPr>
          <p:cNvSpPr txBox="1"/>
          <p:nvPr/>
        </p:nvSpPr>
        <p:spPr>
          <a:xfrm>
            <a:off x="7996508" y="2788448"/>
            <a:ext cx="2678076"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Knowledge management</a:t>
            </a:r>
          </a:p>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Information sharing</a:t>
            </a:r>
          </a:p>
        </p:txBody>
      </p:sp>
      <p:sp>
        <p:nvSpPr>
          <p:cNvPr id="65" name="TextBox 64">
            <a:extLst>
              <a:ext uri="{FF2B5EF4-FFF2-40B4-BE49-F238E27FC236}">
                <a16:creationId xmlns:a16="http://schemas.microsoft.com/office/drawing/2014/main" id="{8109C2A8-62B4-43FB-8D45-1C3A0ECDCAAF}"/>
              </a:ext>
            </a:extLst>
          </p:cNvPr>
          <p:cNvSpPr txBox="1"/>
          <p:nvPr/>
        </p:nvSpPr>
        <p:spPr>
          <a:xfrm>
            <a:off x="2595754" y="1435632"/>
            <a:ext cx="2449521"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ermanent record</a:t>
            </a:r>
          </a:p>
          <a:p>
            <a:pPr marL="0" marR="0" lvl="0" indent="0" algn="r"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Subject to compliance</a:t>
            </a:r>
          </a:p>
        </p:txBody>
      </p:sp>
      <p:sp>
        <p:nvSpPr>
          <p:cNvPr id="66" name="TextBox 65">
            <a:extLst>
              <a:ext uri="{FF2B5EF4-FFF2-40B4-BE49-F238E27FC236}">
                <a16:creationId xmlns:a16="http://schemas.microsoft.com/office/drawing/2014/main" id="{378C74BE-2DF5-4532-AA7D-C73685017E3C}"/>
              </a:ext>
            </a:extLst>
          </p:cNvPr>
          <p:cNvSpPr txBox="1"/>
          <p:nvPr/>
        </p:nvSpPr>
        <p:spPr>
          <a:xfrm>
            <a:off x="7225941" y="1435632"/>
            <a:ext cx="2215879" cy="612475"/>
          </a:xfrm>
          <a:prstGeom prst="rect">
            <a:avLst/>
          </a:prstGeom>
          <a:noFill/>
        </p:spPr>
        <p:txBody>
          <a:bodyPr wrap="square" rtlCol="0">
            <a:spAutoFit/>
          </a:bodyPr>
          <a:lstStyle>
            <a:defPPr>
              <a:defRPr lang="en-US"/>
            </a:defPPr>
            <a:lvl1pPr marL="228600" indent="-228600" defTabSz="932597">
              <a:buFont typeface="Arial" panose="020B0604020202020204" pitchFamily="34" charset="0"/>
              <a:buChar char="•"/>
              <a:defRPr kern="0">
                <a:gradFill>
                  <a:gsLst>
                    <a:gs pos="2917">
                      <a:schemeClr val="accent1"/>
                    </a:gs>
                    <a:gs pos="100000">
                      <a:schemeClr val="accent1"/>
                    </a:gs>
                  </a:gsLst>
                  <a:lin ang="5400000" scaled="0"/>
                </a:gradFill>
              </a:defRPr>
            </a:lvl1pPr>
          </a:lstStyle>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Push down content</a:t>
            </a:r>
          </a:p>
          <a:p>
            <a:pPr marL="0" marR="0" lvl="0" indent="0" defTabSz="932597"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0" cap="none" spc="0" normalizeH="0" baseline="0" noProof="0" dirty="0">
                <a:ln>
                  <a:noFill/>
                </a:ln>
                <a:gradFill>
                  <a:gsLst>
                    <a:gs pos="2917">
                      <a:srgbClr val="000000"/>
                    </a:gs>
                    <a:gs pos="100000">
                      <a:srgbClr val="000000"/>
                    </a:gs>
                  </a:gsLst>
                  <a:lin ang="5400000" scaled="0"/>
                </a:gradFill>
                <a:effectLst/>
                <a:uLnTx/>
                <a:uFillTx/>
              </a:rPr>
              <a:t>Reporting services</a:t>
            </a:r>
          </a:p>
        </p:txBody>
      </p:sp>
      <p:sp>
        <p:nvSpPr>
          <p:cNvPr id="67" name="Freeform: Shape 66">
            <a:extLst>
              <a:ext uri="{FF2B5EF4-FFF2-40B4-BE49-F238E27FC236}">
                <a16:creationId xmlns:a16="http://schemas.microsoft.com/office/drawing/2014/main" id="{A4B1F4FD-6C72-4607-B63D-6158FDFD2810}"/>
              </a:ext>
            </a:extLst>
          </p:cNvPr>
          <p:cNvSpPr/>
          <p:nvPr/>
        </p:nvSpPr>
        <p:spPr bwMode="auto">
          <a:xfrm>
            <a:off x="6405114" y="702730"/>
            <a:ext cx="2771481" cy="4986779"/>
          </a:xfrm>
          <a:custGeom>
            <a:avLst/>
            <a:gdLst>
              <a:gd name="connsiteX0" fmla="*/ 2771481 w 2771481"/>
              <a:gd name="connsiteY0" fmla="*/ 4986779 h 4986779"/>
              <a:gd name="connsiteX1" fmla="*/ 0 w 2771481"/>
              <a:gd name="connsiteY1" fmla="*/ 0 h 4986779"/>
            </a:gdLst>
            <a:ahLst/>
            <a:cxnLst>
              <a:cxn ang="0">
                <a:pos x="connsiteX0" y="connsiteY0"/>
              </a:cxn>
              <a:cxn ang="0">
                <a:pos x="connsiteX1" y="connsiteY1"/>
              </a:cxn>
            </a:cxnLst>
            <a:rect l="l" t="t" r="r" b="b"/>
            <a:pathLst>
              <a:path w="2771481" h="4986779">
                <a:moveTo>
                  <a:pt x="2771481" y="4986779"/>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78FA720B-F924-450C-A73F-6A32A59BC68D}"/>
              </a:ext>
            </a:extLst>
          </p:cNvPr>
          <p:cNvSpPr/>
          <p:nvPr/>
        </p:nvSpPr>
        <p:spPr bwMode="auto">
          <a:xfrm flipH="1">
            <a:off x="3080368" y="702730"/>
            <a:ext cx="2781006" cy="4991542"/>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EA76710A-1B1A-4F27-8468-E6BEAA7B49C3}"/>
              </a:ext>
            </a:extLst>
          </p:cNvPr>
          <p:cNvSpPr/>
          <p:nvPr/>
        </p:nvSpPr>
        <p:spPr bwMode="auto">
          <a:xfrm rot="19800000" flipH="1">
            <a:off x="288123" y="953345"/>
            <a:ext cx="1695217" cy="3042693"/>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 name="TextBox 1">
            <a:extLst>
              <a:ext uri="{FF2B5EF4-FFF2-40B4-BE49-F238E27FC236}">
                <a16:creationId xmlns:a16="http://schemas.microsoft.com/office/drawing/2014/main" id="{D4D1ABB2-43D4-4053-B150-67BB2812CBA8}"/>
              </a:ext>
            </a:extLst>
          </p:cNvPr>
          <p:cNvSpPr txBox="1"/>
          <p:nvPr/>
        </p:nvSpPr>
        <p:spPr>
          <a:xfrm rot="16200000">
            <a:off x="-1091311" y="2151163"/>
            <a:ext cx="3894946"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IT-developed and maintained</a:t>
            </a:r>
          </a:p>
        </p:txBody>
      </p:sp>
      <p:sp>
        <p:nvSpPr>
          <p:cNvPr id="25" name="Freeform: Shape 24">
            <a:extLst>
              <a:ext uri="{FF2B5EF4-FFF2-40B4-BE49-F238E27FC236}">
                <a16:creationId xmlns:a16="http://schemas.microsoft.com/office/drawing/2014/main" id="{5E4A8149-DD61-40F9-973E-B8648BAEDEDD}"/>
              </a:ext>
            </a:extLst>
          </p:cNvPr>
          <p:cNvSpPr/>
          <p:nvPr/>
        </p:nvSpPr>
        <p:spPr bwMode="auto">
          <a:xfrm rot="9000000" flipH="1">
            <a:off x="10290934" y="1783698"/>
            <a:ext cx="1695217" cy="3042693"/>
          </a:xfrm>
          <a:custGeom>
            <a:avLst/>
            <a:gdLst>
              <a:gd name="connsiteX0" fmla="*/ 2771481 w 2771481"/>
              <a:gd name="connsiteY0" fmla="*/ 4986779 h 4986779"/>
              <a:gd name="connsiteX1" fmla="*/ 0 w 2771481"/>
              <a:gd name="connsiteY1" fmla="*/ 0 h 4986779"/>
              <a:gd name="connsiteX0" fmla="*/ 2809581 w 2809581"/>
              <a:gd name="connsiteY0" fmla="*/ 4977254 h 4977254"/>
              <a:gd name="connsiteX1" fmla="*/ 0 w 2809581"/>
              <a:gd name="connsiteY1" fmla="*/ 0 h 4977254"/>
              <a:gd name="connsiteX0" fmla="*/ 2919118 w 2919118"/>
              <a:gd name="connsiteY0" fmla="*/ 4910579 h 4910579"/>
              <a:gd name="connsiteX1" fmla="*/ 0 w 2919118"/>
              <a:gd name="connsiteY1" fmla="*/ 0 h 4910579"/>
              <a:gd name="connsiteX0" fmla="*/ 2781006 w 2781006"/>
              <a:gd name="connsiteY0" fmla="*/ 4991542 h 4991542"/>
              <a:gd name="connsiteX1" fmla="*/ 0 w 2781006"/>
              <a:gd name="connsiteY1" fmla="*/ 0 h 4991542"/>
            </a:gdLst>
            <a:ahLst/>
            <a:cxnLst>
              <a:cxn ang="0">
                <a:pos x="connsiteX0" y="connsiteY0"/>
              </a:cxn>
              <a:cxn ang="0">
                <a:pos x="connsiteX1" y="connsiteY1"/>
              </a:cxn>
            </a:cxnLst>
            <a:rect l="l" t="t" r="r" b="b"/>
            <a:pathLst>
              <a:path w="2781006" h="4991542">
                <a:moveTo>
                  <a:pt x="2781006" y="4991542"/>
                </a:moveTo>
                <a:lnTo>
                  <a:pt x="0" y="0"/>
                </a:lnTo>
              </a:path>
            </a:pathLst>
          </a:custGeom>
          <a:noFill/>
          <a:ln w="31750" cap="flat" cmpd="sng" algn="ctr">
            <a:solidFill>
              <a:srgbClr val="282828"/>
            </a:solidFill>
            <a:prstDash val="solid"/>
            <a:tailEnd type="triangle" w="med"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5FAF3523-93BB-4847-87C9-D748C40707CC}"/>
              </a:ext>
            </a:extLst>
          </p:cNvPr>
          <p:cNvSpPr txBox="1"/>
          <p:nvPr/>
        </p:nvSpPr>
        <p:spPr>
          <a:xfrm rot="16200000">
            <a:off x="9212358" y="2759447"/>
            <a:ext cx="4424837"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Business developed and maintained</a:t>
            </a:r>
          </a:p>
        </p:txBody>
      </p:sp>
      <p:grpSp>
        <p:nvGrpSpPr>
          <p:cNvPr id="3" name="Group 2">
            <a:extLst>
              <a:ext uri="{FF2B5EF4-FFF2-40B4-BE49-F238E27FC236}">
                <a16:creationId xmlns:a16="http://schemas.microsoft.com/office/drawing/2014/main" id="{B0D1FF1E-FE5D-4FAD-A450-D4BAE7C6E9DD}"/>
              </a:ext>
            </a:extLst>
          </p:cNvPr>
          <p:cNvGrpSpPr/>
          <p:nvPr/>
        </p:nvGrpSpPr>
        <p:grpSpPr>
          <a:xfrm>
            <a:off x="2066223" y="2435918"/>
            <a:ext cx="8156028" cy="572464"/>
            <a:chOff x="2066223" y="2435918"/>
            <a:chExt cx="8156028" cy="572464"/>
          </a:xfrm>
        </p:grpSpPr>
        <p:cxnSp>
          <p:nvCxnSpPr>
            <p:cNvPr id="4" name="Straight Connector 3">
              <a:extLst>
                <a:ext uri="{FF2B5EF4-FFF2-40B4-BE49-F238E27FC236}">
                  <a16:creationId xmlns:a16="http://schemas.microsoft.com/office/drawing/2014/main" id="{B340027D-E829-44BC-91B5-408D2950C1ED}"/>
                </a:ext>
              </a:extLst>
            </p:cNvPr>
            <p:cNvCxnSpPr/>
            <p:nvPr/>
          </p:nvCxnSpPr>
          <p:spPr>
            <a:xfrm>
              <a:off x="2066223" y="2539574"/>
              <a:ext cx="8156028" cy="0"/>
            </a:xfrm>
            <a:prstGeom prst="line">
              <a:avLst/>
            </a:prstGeom>
            <a:ln w="381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B99F330-0F2B-4E12-B4CB-C99AC9B5B73E}"/>
                </a:ext>
              </a:extLst>
            </p:cNvPr>
            <p:cNvSpPr txBox="1"/>
            <p:nvPr/>
          </p:nvSpPr>
          <p:spPr>
            <a:xfrm>
              <a:off x="3748873" y="2435918"/>
              <a:ext cx="463677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solidFill>
                    <a:srgbClr val="FF0000"/>
                  </a:solidFill>
                </a:rPr>
                <a:t>Consistent criteria and responsibilities</a:t>
              </a:r>
            </a:p>
          </p:txBody>
        </p:sp>
      </p:grpSp>
    </p:spTree>
    <p:extLst>
      <p:ext uri="{BB962C8B-B14F-4D97-AF65-F5344CB8AC3E}">
        <p14:creationId xmlns:p14="http://schemas.microsoft.com/office/powerpoint/2010/main" val="1655363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3" presetClass="path" presetSubtype="0" accel="40000" decel="40000" fill="hold" nodeType="clickEffect">
                                  <p:stCondLst>
                                    <p:cond delay="0"/>
                                  </p:stCondLst>
                                  <p:childTnLst>
                                    <p:animMotion origin="layout" path="M 3.95833E-6 7.40741E-7 L 0.00677 0.41597 L -0.00651 0.41597 L 3.95833E-6 7.40741E-7 Z " pathEditMode="fixed" rAng="0" ptsTypes="AAAA">
                                      <p:cBhvr>
                                        <p:cTn id="6" dur="5000" fill="hold"/>
                                        <p:tgtEl>
                                          <p:spTgt spid="3"/>
                                        </p:tgtEl>
                                        <p:attrNameLst>
                                          <p:attrName>ppt_x</p:attrName>
                                          <p:attrName>ppt_y</p:attrName>
                                        </p:attrNameLst>
                                      </p:cBhvr>
                                      <p:rCtr x="13" y="2078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4041" y="2075"/>
          <a:ext cx="1587" cy="1587"/>
        </p:xfrm>
        <a:graphic>
          <a:graphicData uri="http://schemas.openxmlformats.org/presentationml/2006/ole">
            <mc:AlternateContent xmlns:mc="http://schemas.openxmlformats.org/markup-compatibility/2006">
              <mc:Choice xmlns:v="urn:schemas-microsoft-com:vml" Requires="v">
                <p:oleObj name="think-cell Slide" r:id="rId14" imgW="377" imgH="377" progId="TCLayout.ActiveDocument.1">
                  <p:embed/>
                </p:oleObj>
              </mc:Choice>
              <mc:Fallback>
                <p:oleObj name="think-cell Slide" r:id="rId14" imgW="377" imgH="377" progId="TCLayout.ActiveDocument.1">
                  <p:embed/>
                  <p:pic>
                    <p:nvPicPr>
                      <p:cNvPr id="5" name="Object 4" hidden="1"/>
                      <p:cNvPicPr/>
                      <p:nvPr/>
                    </p:nvPicPr>
                    <p:blipFill>
                      <a:blip r:embed="rId15"/>
                      <a:stretch>
                        <a:fillRect/>
                      </a:stretch>
                    </p:blipFill>
                    <p:spPr>
                      <a:xfrm>
                        <a:off x="4041" y="2075"/>
                        <a:ext cx="1587" cy="1587"/>
                      </a:xfrm>
                      <a:prstGeom prst="rect">
                        <a:avLst/>
                      </a:prstGeom>
                    </p:spPr>
                  </p:pic>
                </p:oleObj>
              </mc:Fallback>
            </mc:AlternateContent>
          </a:graphicData>
        </a:graphic>
      </p:graphicFrame>
      <p:sp>
        <p:nvSpPr>
          <p:cNvPr id="44" name="Rectangle 43"/>
          <p:cNvSpPr>
            <a:spLocks/>
          </p:cNvSpPr>
          <p:nvPr/>
        </p:nvSpPr>
        <p:spPr>
          <a:xfrm>
            <a:off x="313909" y="2121922"/>
            <a:ext cx="2429768" cy="194370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37141" tIns="91427" rIns="137141" bIns="91427" rtlCol="0" anchor="ctr"/>
          <a:lstStyle/>
          <a:p>
            <a:pPr marL="225382" marR="0" lvl="0" indent="-225382" algn="l" defTabSz="913505"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Encourages individuals to pursue full ownership</a:t>
            </a:r>
          </a:p>
          <a:p>
            <a:pPr marL="225382" marR="0" lvl="0" indent="-225382" algn="l" defTabSz="913505"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Segoe UI" pitchFamily="34" charset="0"/>
                <a:cs typeface="Segoe UI" pitchFamily="34" charset="0"/>
              </a:rPr>
              <a:t>Strong cultural resistance to doing things in a standard way</a:t>
            </a:r>
          </a:p>
        </p:txBody>
      </p:sp>
      <p:grpSp>
        <p:nvGrpSpPr>
          <p:cNvPr id="6" name="Group 5"/>
          <p:cNvGrpSpPr/>
          <p:nvPr/>
        </p:nvGrpSpPr>
        <p:grpSpPr>
          <a:xfrm>
            <a:off x="3353189" y="643853"/>
            <a:ext cx="3199946" cy="4899845"/>
            <a:chOff x="3351212" y="1576460"/>
            <a:chExt cx="3200400" cy="4809100"/>
          </a:xfrm>
          <a:solidFill>
            <a:schemeClr val="accent4"/>
          </a:solidFill>
        </p:grpSpPr>
        <p:sp>
          <p:nvSpPr>
            <p:cNvPr id="45" name="Rectangle 44"/>
            <p:cNvSpPr>
              <a:spLocks/>
            </p:cNvSpPr>
            <p:nvPr>
              <p:custDataLst>
                <p:tags r:id="rId7"/>
              </p:custDataLst>
            </p:nvPr>
          </p:nvSpPr>
          <p:spPr bwMode="auto">
            <a:xfrm>
              <a:off x="3351212" y="2550135"/>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analyst time spent collecting &amp; compiling data</a:t>
              </a:r>
            </a:p>
          </p:txBody>
        </p:sp>
        <p:sp>
          <p:nvSpPr>
            <p:cNvPr id="46" name="Rectangle 45"/>
            <p:cNvSpPr>
              <a:spLocks/>
            </p:cNvSpPr>
            <p:nvPr>
              <p:custDataLst>
                <p:tags r:id="rId8"/>
              </p:custDataLst>
            </p:nvPr>
          </p:nvSpPr>
          <p:spPr bwMode="auto">
            <a:xfrm>
              <a:off x="3351212" y="352381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reports created in “offline environments”</a:t>
              </a:r>
            </a:p>
          </p:txBody>
        </p:sp>
        <p:sp>
          <p:nvSpPr>
            <p:cNvPr id="47" name="Rectangle 46"/>
            <p:cNvSpPr>
              <a:spLocks/>
            </p:cNvSpPr>
            <p:nvPr>
              <p:custDataLst>
                <p:tags r:id="rId9"/>
              </p:custDataLst>
            </p:nvPr>
          </p:nvSpPr>
          <p:spPr bwMode="auto">
            <a:xfrm>
              <a:off x="3351212" y="4497485"/>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decentralized Finance Tools and Systems</a:t>
              </a:r>
            </a:p>
          </p:txBody>
        </p:sp>
        <p:sp>
          <p:nvSpPr>
            <p:cNvPr id="48" name="Rectangle 47"/>
            <p:cNvSpPr>
              <a:spLocks/>
            </p:cNvSpPr>
            <p:nvPr>
              <p:custDataLst>
                <p:tags r:id="rId10"/>
              </p:custDataLst>
            </p:nvPr>
          </p:nvSpPr>
          <p:spPr bwMode="auto">
            <a:xfrm>
              <a:off x="3351212" y="547116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 </a:t>
              </a: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annual spend on “shadow applications”</a:t>
              </a:r>
            </a:p>
          </p:txBody>
        </p:sp>
        <p:sp>
          <p:nvSpPr>
            <p:cNvPr id="49" name="Rectangle 48"/>
            <p:cNvSpPr>
              <a:spLocks/>
            </p:cNvSpPr>
            <p:nvPr>
              <p:custDataLst>
                <p:tags r:id="rId11"/>
              </p:custDataLst>
            </p:nvPr>
          </p:nvSpPr>
          <p:spPr bwMode="auto">
            <a:xfrm>
              <a:off x="3351212" y="1576460"/>
              <a:ext cx="320040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ctr"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Inconsistent</a:t>
              </a:r>
            </a:p>
            <a:p>
              <a:pPr marL="0" marR="0" lvl="0" indent="0" algn="l"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Definitions, hierarchies, metrics &amp; KPIs</a:t>
              </a:r>
            </a:p>
          </p:txBody>
        </p:sp>
      </p:grpSp>
      <p:sp>
        <p:nvSpPr>
          <p:cNvPr id="7" name="Isosceles Triangle 6"/>
          <p:cNvSpPr/>
          <p:nvPr/>
        </p:nvSpPr>
        <p:spPr>
          <a:xfrm rot="5400000">
            <a:off x="2273249" y="2904315"/>
            <a:ext cx="1415353" cy="37892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3505"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58" name="Isosceles Triangle 57"/>
          <p:cNvSpPr/>
          <p:nvPr/>
        </p:nvSpPr>
        <p:spPr>
          <a:xfrm rot="5400000">
            <a:off x="5135922" y="2904316"/>
            <a:ext cx="3328588" cy="37892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3505" rtl="0" eaLnBrk="1" fontAlgn="base" latinLnBrk="0" hangingPunct="1">
              <a:lnSpc>
                <a:spcPct val="100000"/>
              </a:lnSpc>
              <a:spcBef>
                <a:spcPct val="0"/>
              </a:spcBef>
              <a:spcAft>
                <a:spcPct val="0"/>
              </a:spcAft>
              <a:buClrTx/>
              <a:buSzTx/>
              <a:buFontTx/>
              <a:buNone/>
              <a:tabLst/>
              <a:defRPr/>
            </a:pPr>
            <a:endParaRPr kumimoji="0" lang="en-IN" sz="12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15" name="Group 14"/>
          <p:cNvGrpSpPr/>
          <p:nvPr/>
        </p:nvGrpSpPr>
        <p:grpSpPr>
          <a:xfrm>
            <a:off x="7162649" y="643853"/>
            <a:ext cx="4723731" cy="4899845"/>
            <a:chOff x="7161211" y="1576460"/>
            <a:chExt cx="4724401" cy="4900540"/>
          </a:xfrm>
        </p:grpSpPr>
        <p:sp>
          <p:nvSpPr>
            <p:cNvPr id="51" name="Rectangle 50"/>
            <p:cNvSpPr>
              <a:spLocks/>
            </p:cNvSpPr>
            <p:nvPr>
              <p:custDataLst>
                <p:tags r:id="rId2"/>
              </p:custDataLst>
            </p:nvPr>
          </p:nvSpPr>
          <p:spPr bwMode="auto">
            <a:xfrm>
              <a:off x="7161211" y="1576460"/>
              <a:ext cx="4724401" cy="490054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l" defTabSz="914225"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Flexibility at the </a:t>
              </a:r>
              <a:r>
                <a:rPr kumimoji="0" lang="en-IN" sz="1600" b="1"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Segoe UI Semibold" panose="020B0702040204020203" pitchFamily="34" charset="0"/>
                </a:rPr>
                <a:t>Edge</a:t>
              </a:r>
            </a:p>
            <a:p>
              <a:pPr marL="0" marR="0" lvl="0" indent="0" algn="l"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Finance has agility </a:t>
              </a:r>
            </a:p>
          </p:txBody>
        </p:sp>
        <p:sp>
          <p:nvSpPr>
            <p:cNvPr id="54" name="Rectangle 53"/>
            <p:cNvSpPr>
              <a:spLocks/>
            </p:cNvSpPr>
            <p:nvPr>
              <p:custDataLst>
                <p:tags r:id="rId3"/>
              </p:custDataLst>
            </p:nvPr>
          </p:nvSpPr>
          <p:spPr bwMode="auto">
            <a:xfrm>
              <a:off x="10515535" y="1667578"/>
              <a:ext cx="1280160" cy="1075622"/>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t" anchorCtr="0" forceAA="0" compatLnSpc="1">
              <a:prstTxWarp prst="textNoShape">
                <a:avLst/>
              </a:prstTxWarp>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elf Service BI</a:t>
              </a:r>
            </a:p>
          </p:txBody>
        </p:sp>
        <p:pic>
          <p:nvPicPr>
            <p:cNvPr id="55" name="Picture 54"/>
            <p:cNvPicPr>
              <a:picLocks noChangeAspect="1"/>
            </p:cNvPicPr>
            <p:nvPr/>
          </p:nvPicPr>
          <p:blipFill>
            <a:blip r:embed="rId1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6619" y="2049583"/>
              <a:ext cx="697994" cy="617417"/>
            </a:xfrm>
            <a:prstGeom prst="rect">
              <a:avLst/>
            </a:prstGeom>
            <a:noFill/>
            <a:ln>
              <a:noFill/>
            </a:ln>
          </p:spPr>
        </p:pic>
        <p:grpSp>
          <p:nvGrpSpPr>
            <p:cNvPr id="11" name="Group 10"/>
            <p:cNvGrpSpPr/>
            <p:nvPr/>
          </p:nvGrpSpPr>
          <p:grpSpPr>
            <a:xfrm>
              <a:off x="7668451" y="2667000"/>
              <a:ext cx="3709921" cy="3718882"/>
              <a:chOff x="7668451" y="2667000"/>
              <a:chExt cx="3709921" cy="3718882"/>
            </a:xfrm>
          </p:grpSpPr>
          <p:sp>
            <p:nvSpPr>
              <p:cNvPr id="56" name="Oval 55"/>
              <p:cNvSpPr/>
              <p:nvPr/>
            </p:nvSpPr>
            <p:spPr>
              <a:xfrm>
                <a:off x="7668451" y="2667000"/>
                <a:ext cx="3709921" cy="3718882"/>
              </a:xfrm>
              <a:prstGeom prst="ellipse">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37141" tIns="0" rIns="137141" bIns="3017092" numCol="1" spcCol="0" rtlCol="0" fromWordArt="0" anchor="t" anchorCtr="0" forceAA="0" compatLnSpc="1">
                <a:prstTxWarp prst="textNoShape">
                  <a:avLst/>
                </a:prstTxWarp>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6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Discipline at the </a:t>
                </a:r>
                <a:r>
                  <a:rPr kumimoji="0" lang="en-IN" sz="1600" b="1"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Segoe UI Semibold" panose="020B0702040204020203" pitchFamily="34" charset="0"/>
                  </a:rPr>
                  <a:t>Core</a:t>
                </a:r>
              </a:p>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panose="020B0502040204020203" pitchFamily="34" charset="0"/>
                    <a:ea typeface="MS PGothic" panose="020B0600070205080204" pitchFamily="34" charset="-128"/>
                    <a:cs typeface="+mn-cs"/>
                  </a:rPr>
                  <a:t>IT Retains Control</a:t>
                </a:r>
              </a:p>
            </p:txBody>
          </p:sp>
          <p:sp>
            <p:nvSpPr>
              <p:cNvPr id="59" name="Freeform 83"/>
              <p:cNvSpPr>
                <a:spLocks noEditPoints="1"/>
              </p:cNvSpPr>
              <p:nvPr/>
            </p:nvSpPr>
            <p:spPr bwMode="black">
              <a:xfrm>
                <a:off x="9199340" y="4147088"/>
                <a:ext cx="648142" cy="69106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algn="l" defTabSz="913505"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MS PGothic" panose="020B0600070205080204" pitchFamily="34" charset="-128"/>
                  <a:cs typeface="+mn-cs"/>
                </a:endParaRPr>
              </a:p>
            </p:txBody>
          </p:sp>
          <p:pic>
            <p:nvPicPr>
              <p:cNvPr id="60" name="Picture 4" descr="\\MAGNUM\Projects\Microsoft\Cloud Power FY12\Design\ICONS_PNG\Document_Secure.png"/>
              <p:cNvPicPr>
                <a:picLocks noChangeAspect="1" noChangeArrowheads="1"/>
              </p:cNvPicPr>
              <p:nvPr/>
            </p:nvPicPr>
            <p:blipFill>
              <a:blip r:embed="rId17" cstate="print">
                <a:lum bright="100000"/>
              </a:blip>
              <a:srcRect/>
              <a:stretch>
                <a:fillRect/>
              </a:stretch>
            </p:blipFill>
            <p:spPr bwMode="auto">
              <a:xfrm>
                <a:off x="8268320" y="5137906"/>
                <a:ext cx="720158" cy="691069"/>
              </a:xfrm>
              <a:prstGeom prst="rect">
                <a:avLst/>
              </a:prstGeom>
              <a:noFill/>
            </p:spPr>
          </p:pic>
          <p:pic>
            <p:nvPicPr>
              <p:cNvPr id="61" name="Picture 6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222409" y="5207013"/>
                <a:ext cx="576127" cy="552855"/>
              </a:xfrm>
              <a:prstGeom prst="rect">
                <a:avLst/>
              </a:prstGeom>
            </p:spPr>
          </p:pic>
          <p:sp>
            <p:nvSpPr>
              <p:cNvPr id="63" name="Rectangle 62"/>
              <p:cNvSpPr>
                <a:spLocks/>
              </p:cNvSpPr>
              <p:nvPr>
                <p:custDataLst>
                  <p:tags r:id="rId4"/>
                </p:custDataLst>
              </p:nvPr>
            </p:nvSpPr>
            <p:spPr bwMode="auto">
              <a:xfrm>
                <a:off x="8883331" y="3585652"/>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ingle Master Data Source</a:t>
                </a:r>
              </a:p>
            </p:txBody>
          </p:sp>
          <p:sp>
            <p:nvSpPr>
              <p:cNvPr id="64" name="Rectangle 63"/>
              <p:cNvSpPr>
                <a:spLocks/>
              </p:cNvSpPr>
              <p:nvPr>
                <p:custDataLst>
                  <p:tags r:id="rId5"/>
                </p:custDataLst>
              </p:nvPr>
            </p:nvSpPr>
            <p:spPr bwMode="auto">
              <a:xfrm>
                <a:off x="7990363" y="4670258"/>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Standard Corporate BI</a:t>
                </a:r>
              </a:p>
            </p:txBody>
          </p:sp>
          <p:sp>
            <p:nvSpPr>
              <p:cNvPr id="65" name="Rectangle 64"/>
              <p:cNvSpPr>
                <a:spLocks/>
              </p:cNvSpPr>
              <p:nvPr>
                <p:custDataLst>
                  <p:tags r:id="rId6"/>
                </p:custDataLst>
              </p:nvPr>
            </p:nvSpPr>
            <p:spPr bwMode="auto">
              <a:xfrm>
                <a:off x="9870392" y="4670258"/>
                <a:ext cx="1280160" cy="5614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7141" tIns="91427" rIns="137141" bIns="91427" numCol="1" spcCol="0" rtlCol="0" fromWordArt="0" anchor="b" anchorCtr="0" forceAA="0" compatLnSpc="1">
                <a:prstTxWarp prst="textNoShape">
                  <a:avLst/>
                </a:prstTxWarp>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nsistent Taxonomies</a:t>
                </a:r>
              </a:p>
            </p:txBody>
          </p:sp>
        </p:grpSp>
      </p:grpSp>
      <p:sp>
        <p:nvSpPr>
          <p:cNvPr id="71" name="TextBox 70"/>
          <p:cNvSpPr txBox="1"/>
          <p:nvPr/>
        </p:nvSpPr>
        <p:spPr>
          <a:xfrm>
            <a:off x="313908" y="216082"/>
            <a:ext cx="2429768" cy="313918"/>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orporate culture drove….</a:t>
            </a:r>
          </a:p>
        </p:txBody>
      </p:sp>
      <p:sp>
        <p:nvSpPr>
          <p:cNvPr id="72" name="TextBox 71"/>
          <p:cNvSpPr txBox="1"/>
          <p:nvPr/>
        </p:nvSpPr>
        <p:spPr>
          <a:xfrm>
            <a:off x="3315855" y="214579"/>
            <a:ext cx="3343563" cy="313918"/>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challenges in reporting/analytics...</a:t>
            </a:r>
          </a:p>
        </p:txBody>
      </p:sp>
      <p:sp>
        <p:nvSpPr>
          <p:cNvPr id="73" name="TextBox 72"/>
          <p:cNvSpPr txBox="1"/>
          <p:nvPr/>
        </p:nvSpPr>
        <p:spPr>
          <a:xfrm>
            <a:off x="7159264" y="210455"/>
            <a:ext cx="4727117" cy="318312"/>
          </a:xfrm>
          <a:prstGeom prst="rect">
            <a:avLst/>
          </a:prstGeom>
          <a:noFill/>
        </p:spPr>
        <p:txBody>
          <a:bodyPr wrap="square" lIns="0" tIns="45713" rIns="0" bIns="45713" rtlCol="0">
            <a:spAutoFit/>
          </a:bodyPr>
          <a:lstStyle/>
          <a:p>
            <a:pPr marL="0" marR="0" lvl="0" indent="0" algn="ctr" defTabSz="850398" rtl="0" eaLnBrk="1" fontAlgn="base" latinLnBrk="0" hangingPunct="1">
              <a:lnSpc>
                <a:spcPct val="90000"/>
              </a:lnSpc>
              <a:spcBef>
                <a:spcPct val="0"/>
              </a:spcBef>
              <a:spcAft>
                <a:spcPts val="441"/>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ea typeface="MS PGothic" panose="020B0600070205080204" pitchFamily="34" charset="-128"/>
                <a:cs typeface="Segoe UI Semibold" panose="020B0702040204020203" pitchFamily="34" charset="0"/>
              </a:rPr>
              <a:t>...which led to a new BI Strategy </a:t>
            </a:r>
          </a:p>
        </p:txBody>
      </p:sp>
    </p:spTree>
    <p:extLst>
      <p:ext uri="{BB962C8B-B14F-4D97-AF65-F5344CB8AC3E}">
        <p14:creationId xmlns:p14="http://schemas.microsoft.com/office/powerpoint/2010/main" val="19901151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4089626151"/>
              </p:ext>
            </p:extLst>
          </p:nvPr>
        </p:nvGraphicFramePr>
        <p:xfrm>
          <a:off x="765911" y="125046"/>
          <a:ext cx="11148998" cy="5790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45452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3673806172"/>
              </p:ext>
            </p:extLst>
          </p:nvPr>
        </p:nvGraphicFramePr>
        <p:xfrm>
          <a:off x="765911" y="125046"/>
          <a:ext cx="11148998" cy="5790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B909EB46-6B5C-4C38-82DC-F764277A1326}"/>
              </a:ext>
            </a:extLst>
          </p:cNvPr>
          <p:cNvGraphicFramePr/>
          <p:nvPr>
            <p:extLst>
              <p:ext uri="{D42A27DB-BD31-4B8C-83A1-F6EECF244321}">
                <p14:modId xmlns:p14="http://schemas.microsoft.com/office/powerpoint/2010/main" val="2374319800"/>
              </p:ext>
            </p:extLst>
          </p:nvPr>
        </p:nvGraphicFramePr>
        <p:xfrm>
          <a:off x="13230826" y="890398"/>
          <a:ext cx="9941173" cy="66567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Arrow: Right 5">
            <a:extLst>
              <a:ext uri="{FF2B5EF4-FFF2-40B4-BE49-F238E27FC236}">
                <a16:creationId xmlns:a16="http://schemas.microsoft.com/office/drawing/2014/main" id="{55C9C9B2-477B-4C1E-B94A-F2C81FA19ED3}"/>
              </a:ext>
            </a:extLst>
          </p:cNvPr>
          <p:cNvSpPr/>
          <p:nvPr/>
        </p:nvSpPr>
        <p:spPr>
          <a:xfrm rot="20745194">
            <a:off x="13366417" y="1875995"/>
            <a:ext cx="8448431" cy="10431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ell-defined requirements for each phase</a:t>
            </a:r>
          </a:p>
        </p:txBody>
      </p:sp>
      <p:cxnSp>
        <p:nvCxnSpPr>
          <p:cNvPr id="8" name="Straight Connector 7">
            <a:extLst>
              <a:ext uri="{FF2B5EF4-FFF2-40B4-BE49-F238E27FC236}">
                <a16:creationId xmlns:a16="http://schemas.microsoft.com/office/drawing/2014/main" id="{000B0E48-40BA-4D87-BDA2-904DE01BF44B}"/>
              </a:ext>
            </a:extLst>
          </p:cNvPr>
          <p:cNvCxnSpPr>
            <a:cxnSpLocks/>
          </p:cNvCxnSpPr>
          <p:nvPr/>
        </p:nvCxnSpPr>
        <p:spPr>
          <a:xfrm flipH="1">
            <a:off x="12905787" y="4125688"/>
            <a:ext cx="325040" cy="400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BFCC5FC-980A-4002-BA6E-274CEABB2C19}"/>
              </a:ext>
            </a:extLst>
          </p:cNvPr>
          <p:cNvCxnSpPr>
            <a:cxnSpLocks/>
          </p:cNvCxnSpPr>
          <p:nvPr/>
        </p:nvCxnSpPr>
        <p:spPr>
          <a:xfrm flipH="1" flipV="1">
            <a:off x="12905787" y="5170716"/>
            <a:ext cx="325040" cy="35922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55004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27821CB-AFA2-425F-8324-C88DC4533E22}"/>
              </a:ext>
            </a:extLst>
          </p:cNvPr>
          <p:cNvGraphicFramePr/>
          <p:nvPr>
            <p:extLst>
              <p:ext uri="{D42A27DB-BD31-4B8C-83A1-F6EECF244321}">
                <p14:modId xmlns:p14="http://schemas.microsoft.com/office/powerpoint/2010/main" val="872962571"/>
              </p:ext>
            </p:extLst>
          </p:nvPr>
        </p:nvGraphicFramePr>
        <p:xfrm>
          <a:off x="-2590028" y="3305015"/>
          <a:ext cx="4119754" cy="21398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0D6F6CF4-8447-4C63-92BB-6011168390EF}"/>
              </a:ext>
            </a:extLst>
          </p:cNvPr>
          <p:cNvGraphicFramePr/>
          <p:nvPr>
            <p:extLst>
              <p:ext uri="{D42A27DB-BD31-4B8C-83A1-F6EECF244321}">
                <p14:modId xmlns:p14="http://schemas.microsoft.com/office/powerpoint/2010/main" val="2770135536"/>
              </p:ext>
            </p:extLst>
          </p:nvPr>
        </p:nvGraphicFramePr>
        <p:xfrm>
          <a:off x="1953226" y="890398"/>
          <a:ext cx="9941173" cy="66567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Arrow: Right 11">
            <a:extLst>
              <a:ext uri="{FF2B5EF4-FFF2-40B4-BE49-F238E27FC236}">
                <a16:creationId xmlns:a16="http://schemas.microsoft.com/office/drawing/2014/main" id="{B6C0A25F-78E3-47B8-99FF-8CBE9229F352}"/>
              </a:ext>
            </a:extLst>
          </p:cNvPr>
          <p:cNvSpPr/>
          <p:nvPr/>
        </p:nvSpPr>
        <p:spPr>
          <a:xfrm rot="20745194">
            <a:off x="2088817" y="1875995"/>
            <a:ext cx="8448431" cy="10431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Well-defined requirements for each phase</a:t>
            </a:r>
          </a:p>
        </p:txBody>
      </p:sp>
      <p:cxnSp>
        <p:nvCxnSpPr>
          <p:cNvPr id="14" name="Straight Connector 13">
            <a:extLst>
              <a:ext uri="{FF2B5EF4-FFF2-40B4-BE49-F238E27FC236}">
                <a16:creationId xmlns:a16="http://schemas.microsoft.com/office/drawing/2014/main" id="{EFDC3643-3C23-4C0E-8952-714942F5AA8E}"/>
              </a:ext>
            </a:extLst>
          </p:cNvPr>
          <p:cNvCxnSpPr>
            <a:cxnSpLocks/>
          </p:cNvCxnSpPr>
          <p:nvPr/>
        </p:nvCxnSpPr>
        <p:spPr>
          <a:xfrm flipH="1">
            <a:off x="1628187" y="4125688"/>
            <a:ext cx="325040" cy="400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2FB221-0359-4871-B5F3-A2D28E2C6441}"/>
              </a:ext>
            </a:extLst>
          </p:cNvPr>
          <p:cNvCxnSpPr>
            <a:cxnSpLocks/>
          </p:cNvCxnSpPr>
          <p:nvPr/>
        </p:nvCxnSpPr>
        <p:spPr>
          <a:xfrm flipH="1" flipV="1">
            <a:off x="1628187" y="5170716"/>
            <a:ext cx="325040" cy="35922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06342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erson standing in front of a body of water&#10;&#10;Description automatically generated">
            <a:extLst>
              <a:ext uri="{FF2B5EF4-FFF2-40B4-BE49-F238E27FC236}">
                <a16:creationId xmlns:a16="http://schemas.microsoft.com/office/drawing/2014/main" id="{6406A562-4A2E-4256-9FA9-F43A8B284BC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2083" r="12083"/>
          <a:stretch>
            <a:fillRect/>
          </a:stretch>
        </p:blipFill>
        <p:spPr/>
      </p:pic>
      <p:sp>
        <p:nvSpPr>
          <p:cNvPr id="7" name="Title 6">
            <a:extLst>
              <a:ext uri="{FF2B5EF4-FFF2-40B4-BE49-F238E27FC236}">
                <a16:creationId xmlns:a16="http://schemas.microsoft.com/office/drawing/2014/main" id="{EF2280FB-22C8-4105-B975-B3182BE3448E}"/>
              </a:ext>
            </a:extLst>
          </p:cNvPr>
          <p:cNvSpPr>
            <a:spLocks noGrp="1"/>
          </p:cNvSpPr>
          <p:nvPr>
            <p:ph type="title"/>
          </p:nvPr>
        </p:nvSpPr>
        <p:spPr>
          <a:xfrm>
            <a:off x="717550" y="271786"/>
            <a:ext cx="5736516" cy="962033"/>
          </a:xfrm>
        </p:spPr>
        <p:txBody>
          <a:bodyPr/>
          <a:lstStyle/>
          <a:p>
            <a:r>
              <a:rPr lang="en-US"/>
              <a:t>Matthew Roche</a:t>
            </a:r>
          </a:p>
        </p:txBody>
      </p:sp>
      <p:sp>
        <p:nvSpPr>
          <p:cNvPr id="5" name="Text Placeholder 10">
            <a:extLst>
              <a:ext uri="{FF2B5EF4-FFF2-40B4-BE49-F238E27FC236}">
                <a16:creationId xmlns:a16="http://schemas.microsoft.com/office/drawing/2014/main" id="{C8B59CFA-6BC8-447C-A9E6-59CF0054AC76}"/>
              </a:ext>
            </a:extLst>
          </p:cNvPr>
          <p:cNvSpPr txBox="1">
            <a:spLocks/>
          </p:cNvSpPr>
          <p:nvPr/>
        </p:nvSpPr>
        <p:spPr>
          <a:xfrm>
            <a:off x="717550" y="1205970"/>
            <a:ext cx="6367946" cy="45852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Today: </a:t>
            </a:r>
            <a:r>
              <a:rPr lang="en-US" dirty="0"/>
              <a:t>Working with the world’s biggest companies to help them adopt, implement, and improve Power BI.</a:t>
            </a:r>
            <a:br>
              <a:rPr lang="en-US" dirty="0"/>
            </a:br>
            <a:endParaRPr lang="en-US" dirty="0"/>
          </a:p>
          <a:p>
            <a:pPr marL="0" indent="0">
              <a:buNone/>
            </a:pPr>
            <a:r>
              <a:rPr lang="en-US" b="1" dirty="0"/>
              <a:t>Yesterday: </a:t>
            </a:r>
            <a:r>
              <a:rPr lang="en-US" dirty="0"/>
              <a:t>Building and shipping products and services for data governance, data management, ETL, and BI.</a:t>
            </a:r>
            <a:br>
              <a:rPr lang="en-US" dirty="0"/>
            </a:br>
            <a:endParaRPr lang="en-US" dirty="0"/>
          </a:p>
          <a:p>
            <a:pPr marL="0" indent="0">
              <a:buNone/>
            </a:pPr>
            <a:r>
              <a:rPr lang="en-US" b="1" dirty="0"/>
              <a:t>Forever ago: </a:t>
            </a:r>
            <a:r>
              <a:rPr lang="en-US" dirty="0"/>
              <a:t>Training, mentoring, and consulting with companies of all sizes as a data architect and technical lead.</a:t>
            </a:r>
          </a:p>
        </p:txBody>
      </p:sp>
    </p:spTree>
    <p:extLst>
      <p:ext uri="{BB962C8B-B14F-4D97-AF65-F5344CB8AC3E}">
        <p14:creationId xmlns:p14="http://schemas.microsoft.com/office/powerpoint/2010/main" val="3692803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dirty="0"/>
              <a:t>Building a data culture:</a:t>
            </a:r>
            <a:br>
              <a:rPr lang="en-US" dirty="0"/>
            </a:br>
            <a:r>
              <a:rPr lang="en-US" dirty="0"/>
              <a:t>The hard part</a:t>
            </a:r>
          </a:p>
        </p:txBody>
      </p:sp>
    </p:spTree>
    <p:extLst>
      <p:ext uri="{BB962C8B-B14F-4D97-AF65-F5344CB8AC3E}">
        <p14:creationId xmlns:p14="http://schemas.microsoft.com/office/powerpoint/2010/main" val="4024117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idx="1"/>
          </p:nvPr>
        </p:nvSpPr>
        <p:spPr>
          <a:xfrm>
            <a:off x="667656" y="171017"/>
            <a:ext cx="5328331" cy="823912"/>
          </a:xfrm>
        </p:spPr>
        <p:txBody>
          <a:bodyPr vert="horz" lIns="91440" tIns="45720" rIns="91440" bIns="45720" rtlCol="0" anchor="b">
            <a:normAutofit fontScale="92500" lnSpcReduction="20000"/>
          </a:bodyPr>
          <a:lstStyle/>
          <a:p>
            <a:r>
              <a:rPr lang="en-US" sz="3200" dirty="0"/>
              <a:t>Establish a Center of Excellence or Network of Excellenc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2"/>
          </p:nvPr>
        </p:nvSpPr>
        <p:spPr>
          <a:xfrm>
            <a:off x="667656" y="1297709"/>
            <a:ext cx="5328331" cy="2131291"/>
          </a:xfrm>
        </p:spPr>
        <p:txBody>
          <a:bodyPr/>
          <a:lstStyle/>
          <a:p>
            <a:r>
              <a:rPr lang="en-US" dirty="0"/>
              <a:t>Key business and IT stakeholders</a:t>
            </a:r>
          </a:p>
          <a:p>
            <a:r>
              <a:rPr lang="en-US" dirty="0"/>
              <a:t>System and process owners</a:t>
            </a:r>
          </a:p>
          <a:p>
            <a:r>
              <a:rPr lang="en-US" dirty="0"/>
              <a:t>Decision-makers</a:t>
            </a:r>
          </a:p>
          <a:p>
            <a:r>
              <a:rPr lang="en-US" dirty="0"/>
              <a:t>People with budgets</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3"/>
          </p:nvPr>
        </p:nvSpPr>
        <p:spPr>
          <a:xfrm>
            <a:off x="6170611" y="171017"/>
            <a:ext cx="5328331" cy="823912"/>
          </a:xfrm>
        </p:spPr>
        <p:txBody>
          <a:bodyPr>
            <a:normAutofit fontScale="92500" lnSpcReduction="20000"/>
          </a:bodyPr>
          <a:lstStyle/>
          <a:p>
            <a:r>
              <a:rPr lang="en-US" sz="3200" dirty="0"/>
              <a:t>Recognize and nurture a Community of Practice</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
          </p:nvPr>
        </p:nvSpPr>
        <p:spPr>
          <a:xfrm>
            <a:off x="6170611" y="1297709"/>
            <a:ext cx="5328331" cy="2131291"/>
          </a:xfrm>
        </p:spPr>
        <p:txBody>
          <a:bodyPr/>
          <a:lstStyle/>
          <a:p>
            <a:r>
              <a:rPr lang="en-US" dirty="0"/>
              <a:t>People with problems</a:t>
            </a:r>
          </a:p>
          <a:p>
            <a:r>
              <a:rPr lang="en-US" dirty="0"/>
              <a:t>People with solutions</a:t>
            </a:r>
          </a:p>
          <a:p>
            <a:r>
              <a:rPr lang="en-US" dirty="0"/>
              <a:t>Champions</a:t>
            </a:r>
          </a:p>
          <a:p>
            <a:r>
              <a:rPr lang="en-US" dirty="0"/>
              <a:t>Moderators and stewards</a:t>
            </a:r>
          </a:p>
        </p:txBody>
      </p:sp>
      <p:pic>
        <p:nvPicPr>
          <p:cNvPr id="7" name="Content Placeholder 4" descr="A picture containing building&#10;&#10;Description automatically generated">
            <a:extLst>
              <a:ext uri="{FF2B5EF4-FFF2-40B4-BE49-F238E27FC236}">
                <a16:creationId xmlns:a16="http://schemas.microsoft.com/office/drawing/2014/main" id="{FCD99E71-B9EF-49C6-8028-6060B55ED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0610" y="3458496"/>
            <a:ext cx="5328331" cy="2374269"/>
          </a:xfrm>
          <a:prstGeom prst="rect">
            <a:avLst/>
          </a:prstGeom>
        </p:spPr>
      </p:pic>
      <p:pic>
        <p:nvPicPr>
          <p:cNvPr id="9" name="Picture 8" descr="A group of people sitting at a table&#10;&#10;Description automatically generated">
            <a:extLst>
              <a:ext uri="{FF2B5EF4-FFF2-40B4-BE49-F238E27FC236}">
                <a16:creationId xmlns:a16="http://schemas.microsoft.com/office/drawing/2014/main" id="{5A2E553B-C1E5-439F-BB48-8715EEE068FE}"/>
              </a:ext>
            </a:extLst>
          </p:cNvPr>
          <p:cNvPicPr>
            <a:picLocks noChangeAspect="1"/>
          </p:cNvPicPr>
          <p:nvPr/>
        </p:nvPicPr>
        <p:blipFill rotWithShape="1">
          <a:blip r:embed="rId3">
            <a:extLst>
              <a:ext uri="{28A0092B-C50C-407E-A947-70E740481C1C}">
                <a14:useLocalDpi xmlns:a14="http://schemas.microsoft.com/office/drawing/2010/main" val="0"/>
              </a:ext>
            </a:extLst>
          </a:blip>
          <a:srcRect t="17825" b="15653"/>
          <a:stretch/>
        </p:blipFill>
        <p:spPr>
          <a:xfrm>
            <a:off x="642252" y="3458496"/>
            <a:ext cx="5353735" cy="2374269"/>
          </a:xfrm>
          <a:prstGeom prst="rect">
            <a:avLst/>
          </a:prstGeom>
        </p:spPr>
      </p:pic>
    </p:spTree>
    <p:extLst>
      <p:ext uri="{BB962C8B-B14F-4D97-AF65-F5344CB8AC3E}">
        <p14:creationId xmlns:p14="http://schemas.microsoft.com/office/powerpoint/2010/main" val="618699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B60FA3E-04D1-42AF-AFB6-48D574E45DAF}"/>
              </a:ext>
            </a:extLst>
          </p:cNvPr>
          <p:cNvSpPr>
            <a:spLocks noGrp="1"/>
          </p:cNvSpPr>
          <p:nvPr>
            <p:ph type="title"/>
          </p:nvPr>
        </p:nvSpPr>
        <p:spPr/>
        <p:txBody>
          <a:bodyPr/>
          <a:lstStyle/>
          <a:p>
            <a:r>
              <a:rPr lang="en-US" dirty="0"/>
              <a:t>Is this starting to feel ‘above my pay grade’?</a:t>
            </a:r>
          </a:p>
        </p:txBody>
      </p:sp>
      <p:sp>
        <p:nvSpPr>
          <p:cNvPr id="8" name="Content Placeholder 7">
            <a:extLst>
              <a:ext uri="{FF2B5EF4-FFF2-40B4-BE49-F238E27FC236}">
                <a16:creationId xmlns:a16="http://schemas.microsoft.com/office/drawing/2014/main" id="{6A8F1865-C237-4E15-98E4-F8508043B791}"/>
              </a:ext>
            </a:extLst>
          </p:cNvPr>
          <p:cNvSpPr>
            <a:spLocks noGrp="1"/>
          </p:cNvSpPr>
          <p:nvPr>
            <p:ph idx="1"/>
          </p:nvPr>
        </p:nvSpPr>
        <p:spPr/>
        <p:txBody>
          <a:bodyPr/>
          <a:lstStyle/>
          <a:p>
            <a:pPr marL="0" indent="0">
              <a:buNone/>
            </a:pPr>
            <a:r>
              <a:rPr lang="en-US" dirty="0"/>
              <a:t>Remember how we started off with that boring ‘executive sponsorship’ topic? Are you starting to see how that sponsorship might help here?</a:t>
            </a:r>
          </a:p>
        </p:txBody>
      </p:sp>
      <p:pic>
        <p:nvPicPr>
          <p:cNvPr id="10" name="Picture 9" descr="A picture containing text, map&#10;&#10;Description automatically generated">
            <a:extLst>
              <a:ext uri="{FF2B5EF4-FFF2-40B4-BE49-F238E27FC236}">
                <a16:creationId xmlns:a16="http://schemas.microsoft.com/office/drawing/2014/main" id="{3DEEA209-034F-49EA-8D94-2A87134752F4}"/>
              </a:ext>
            </a:extLst>
          </p:cNvPr>
          <p:cNvPicPr>
            <a:picLocks noChangeAspect="1"/>
          </p:cNvPicPr>
          <p:nvPr/>
        </p:nvPicPr>
        <p:blipFill rotWithShape="1">
          <a:blip r:embed="rId2">
            <a:extLst>
              <a:ext uri="{28A0092B-C50C-407E-A947-70E740481C1C}">
                <a14:useLocalDpi xmlns:a14="http://schemas.microsoft.com/office/drawing/2010/main" val="0"/>
              </a:ext>
            </a:extLst>
          </a:blip>
          <a:srcRect l="19712" t="30753" r="13921" b="22878"/>
          <a:stretch/>
        </p:blipFill>
        <p:spPr>
          <a:xfrm>
            <a:off x="0" y="2355270"/>
            <a:ext cx="12192000" cy="3435927"/>
          </a:xfrm>
          <a:prstGeom prst="rect">
            <a:avLst/>
          </a:prstGeom>
        </p:spPr>
      </p:pic>
    </p:spTree>
    <p:extLst>
      <p:ext uri="{BB962C8B-B14F-4D97-AF65-F5344CB8AC3E}">
        <p14:creationId xmlns:p14="http://schemas.microsoft.com/office/powerpoint/2010/main" val="1310678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252E9-CBC1-4FD7-A7ED-093868BAB089}"/>
              </a:ext>
            </a:extLst>
          </p:cNvPr>
          <p:cNvSpPr>
            <a:spLocks noGrp="1"/>
          </p:cNvSpPr>
          <p:nvPr>
            <p:ph type="body" idx="1"/>
          </p:nvPr>
        </p:nvSpPr>
        <p:spPr>
          <a:xfrm>
            <a:off x="667656" y="171017"/>
            <a:ext cx="5328331" cy="823912"/>
          </a:xfrm>
        </p:spPr>
        <p:txBody>
          <a:bodyPr vert="horz" lIns="91440" tIns="45720" rIns="91440" bIns="45720" rtlCol="0" anchor="b">
            <a:normAutofit fontScale="92500"/>
          </a:bodyPr>
          <a:lstStyle/>
          <a:p>
            <a:r>
              <a:rPr lang="en-US" sz="3200" dirty="0"/>
              <a:t>Your community needs a home</a:t>
            </a:r>
          </a:p>
        </p:txBody>
      </p:sp>
      <p:sp>
        <p:nvSpPr>
          <p:cNvPr id="4" name="Content Placeholder 3">
            <a:extLst>
              <a:ext uri="{FF2B5EF4-FFF2-40B4-BE49-F238E27FC236}">
                <a16:creationId xmlns:a16="http://schemas.microsoft.com/office/drawing/2014/main" id="{DDE9D1E7-A9F5-4925-9238-9011BEAC2019}"/>
              </a:ext>
            </a:extLst>
          </p:cNvPr>
          <p:cNvSpPr>
            <a:spLocks noGrp="1"/>
          </p:cNvSpPr>
          <p:nvPr>
            <p:ph sz="half" idx="2"/>
          </p:nvPr>
        </p:nvSpPr>
        <p:spPr>
          <a:xfrm>
            <a:off x="667656" y="1297709"/>
            <a:ext cx="5328331" cy="1542473"/>
          </a:xfrm>
        </p:spPr>
        <p:txBody>
          <a:bodyPr>
            <a:normAutofit fontScale="85000" lnSpcReduction="20000"/>
          </a:bodyPr>
          <a:lstStyle/>
          <a:p>
            <a:r>
              <a:rPr lang="en-US" dirty="0"/>
              <a:t>Build portal</a:t>
            </a:r>
          </a:p>
          <a:p>
            <a:r>
              <a:rPr lang="en-US" dirty="0"/>
              <a:t>Consolidate resources in portal</a:t>
            </a:r>
          </a:p>
          <a:p>
            <a:r>
              <a:rPr lang="en-US" dirty="0"/>
              <a:t>Direct traffic to portal</a:t>
            </a:r>
          </a:p>
          <a:p>
            <a:r>
              <a:rPr lang="en-US" dirty="0"/>
              <a:t>Repeat</a:t>
            </a:r>
          </a:p>
        </p:txBody>
      </p:sp>
      <p:sp>
        <p:nvSpPr>
          <p:cNvPr id="5" name="Text Placeholder 4">
            <a:extLst>
              <a:ext uri="{FF2B5EF4-FFF2-40B4-BE49-F238E27FC236}">
                <a16:creationId xmlns:a16="http://schemas.microsoft.com/office/drawing/2014/main" id="{D386B4C1-81D8-4B84-9C0C-E214950DDBEF}"/>
              </a:ext>
            </a:extLst>
          </p:cNvPr>
          <p:cNvSpPr>
            <a:spLocks noGrp="1"/>
          </p:cNvSpPr>
          <p:nvPr>
            <p:ph type="body" sz="quarter" idx="3"/>
          </p:nvPr>
        </p:nvSpPr>
        <p:spPr>
          <a:xfrm>
            <a:off x="6170611" y="171017"/>
            <a:ext cx="5328331" cy="823912"/>
          </a:xfrm>
        </p:spPr>
        <p:txBody>
          <a:bodyPr>
            <a:normAutofit fontScale="92500" lnSpcReduction="20000"/>
          </a:bodyPr>
          <a:lstStyle/>
          <a:p>
            <a:r>
              <a:rPr lang="en-US" sz="3200" dirty="0"/>
              <a:t>Your community members need motivation</a:t>
            </a:r>
          </a:p>
        </p:txBody>
      </p:sp>
      <p:sp>
        <p:nvSpPr>
          <p:cNvPr id="6" name="Content Placeholder 5">
            <a:extLst>
              <a:ext uri="{FF2B5EF4-FFF2-40B4-BE49-F238E27FC236}">
                <a16:creationId xmlns:a16="http://schemas.microsoft.com/office/drawing/2014/main" id="{59E7FD07-9CD9-4207-AAF4-C757640D58B9}"/>
              </a:ext>
            </a:extLst>
          </p:cNvPr>
          <p:cNvSpPr>
            <a:spLocks noGrp="1"/>
          </p:cNvSpPr>
          <p:nvPr>
            <p:ph sz="quarter" idx="4"/>
          </p:nvPr>
        </p:nvSpPr>
        <p:spPr>
          <a:xfrm>
            <a:off x="6170611" y="1297709"/>
            <a:ext cx="5328331" cy="1542473"/>
          </a:xfrm>
        </p:spPr>
        <p:txBody>
          <a:bodyPr>
            <a:normAutofit fontScale="85000" lnSpcReduction="20000"/>
          </a:bodyPr>
          <a:lstStyle/>
          <a:p>
            <a:r>
              <a:rPr lang="en-US" dirty="0"/>
              <a:t>Listen and learn</a:t>
            </a:r>
          </a:p>
          <a:p>
            <a:r>
              <a:rPr lang="en-US" dirty="0"/>
              <a:t>Find places for people to help</a:t>
            </a:r>
          </a:p>
          <a:p>
            <a:r>
              <a:rPr lang="en-US" dirty="0"/>
              <a:t>Say thank you, and mean it</a:t>
            </a:r>
          </a:p>
          <a:p>
            <a:r>
              <a:rPr lang="en-US" dirty="0"/>
              <a:t>Repeat</a:t>
            </a:r>
          </a:p>
        </p:txBody>
      </p:sp>
      <p:pic>
        <p:nvPicPr>
          <p:cNvPr id="13" name="Picture 12">
            <a:extLst>
              <a:ext uri="{FF2B5EF4-FFF2-40B4-BE49-F238E27FC236}">
                <a16:creationId xmlns:a16="http://schemas.microsoft.com/office/drawing/2014/main" id="{55BC97CC-283E-44FC-805F-4DA64C5973C7}"/>
              </a:ext>
            </a:extLst>
          </p:cNvPr>
          <p:cNvPicPr>
            <a:picLocks noChangeAspect="1"/>
          </p:cNvPicPr>
          <p:nvPr/>
        </p:nvPicPr>
        <p:blipFill>
          <a:blip r:embed="rId2"/>
          <a:stretch>
            <a:fillRect/>
          </a:stretch>
        </p:blipFill>
        <p:spPr>
          <a:xfrm>
            <a:off x="667655" y="2901112"/>
            <a:ext cx="5211289" cy="2928226"/>
          </a:xfrm>
          <a:prstGeom prst="rect">
            <a:avLst/>
          </a:prstGeom>
        </p:spPr>
      </p:pic>
      <p:pic>
        <p:nvPicPr>
          <p:cNvPr id="15" name="Picture 14">
            <a:extLst>
              <a:ext uri="{FF2B5EF4-FFF2-40B4-BE49-F238E27FC236}">
                <a16:creationId xmlns:a16="http://schemas.microsoft.com/office/drawing/2014/main" id="{D562D4D8-DA57-448D-809C-765FDB4E696F}"/>
              </a:ext>
            </a:extLst>
          </p:cNvPr>
          <p:cNvPicPr>
            <a:picLocks noChangeAspect="1"/>
          </p:cNvPicPr>
          <p:nvPr/>
        </p:nvPicPr>
        <p:blipFill>
          <a:blip r:embed="rId3"/>
          <a:stretch>
            <a:fillRect/>
          </a:stretch>
        </p:blipFill>
        <p:spPr>
          <a:xfrm>
            <a:off x="6095999" y="2901112"/>
            <a:ext cx="5491477" cy="2928226"/>
          </a:xfrm>
          <a:prstGeom prst="rect">
            <a:avLst/>
          </a:prstGeom>
        </p:spPr>
      </p:pic>
      <p:pic>
        <p:nvPicPr>
          <p:cNvPr id="8" name="Picture 7">
            <a:extLst>
              <a:ext uri="{FF2B5EF4-FFF2-40B4-BE49-F238E27FC236}">
                <a16:creationId xmlns:a16="http://schemas.microsoft.com/office/drawing/2014/main" id="{842DD3F7-A5B9-4048-BD02-841B08991273}"/>
              </a:ext>
            </a:extLst>
          </p:cNvPr>
          <p:cNvPicPr>
            <a:picLocks noChangeAspect="1"/>
          </p:cNvPicPr>
          <p:nvPr/>
        </p:nvPicPr>
        <p:blipFill rotWithShape="1">
          <a:blip r:embed="rId2"/>
          <a:srcRect l="85887" t="12390" b="64190"/>
          <a:stretch/>
        </p:blipFill>
        <p:spPr>
          <a:xfrm>
            <a:off x="3879417" y="2351851"/>
            <a:ext cx="2310244" cy="2154298"/>
          </a:xfrm>
          <a:prstGeom prst="rect">
            <a:avLst/>
          </a:prstGeom>
        </p:spPr>
      </p:pic>
    </p:spTree>
    <p:extLst>
      <p:ext uri="{BB962C8B-B14F-4D97-AF65-F5344CB8AC3E}">
        <p14:creationId xmlns:p14="http://schemas.microsoft.com/office/powerpoint/2010/main" val="2479125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2647CC-F949-4FFB-BD0E-DDB08B9424C4}"/>
              </a:ext>
            </a:extLst>
          </p:cNvPr>
          <p:cNvSpPr>
            <a:spLocks noGrp="1"/>
          </p:cNvSpPr>
          <p:nvPr>
            <p:ph type="title"/>
          </p:nvPr>
        </p:nvSpPr>
        <p:spPr/>
        <p:txBody>
          <a:bodyPr/>
          <a:lstStyle/>
          <a:p>
            <a:r>
              <a:rPr lang="en-US" dirty="0"/>
              <a:t>Wrapping up</a:t>
            </a:r>
          </a:p>
        </p:txBody>
      </p:sp>
    </p:spTree>
    <p:extLst>
      <p:ext uri="{BB962C8B-B14F-4D97-AF65-F5344CB8AC3E}">
        <p14:creationId xmlns:p14="http://schemas.microsoft.com/office/powerpoint/2010/main" val="2334287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FB4887-D416-4A8D-91A4-F0A43077E4A2}"/>
              </a:ext>
            </a:extLst>
          </p:cNvPr>
          <p:cNvSpPr>
            <a:spLocks noGrp="1"/>
          </p:cNvSpPr>
          <p:nvPr>
            <p:ph idx="4294967295"/>
          </p:nvPr>
        </p:nvSpPr>
        <p:spPr>
          <a:xfrm>
            <a:off x="732640" y="1161818"/>
            <a:ext cx="10871200" cy="4418012"/>
          </a:xfrm>
        </p:spPr>
        <p:txBody>
          <a:bodyPr>
            <a:normAutofit/>
          </a:bodyPr>
          <a:lstStyle/>
          <a:p>
            <a:pPr marL="0" indent="0">
              <a:buNone/>
            </a:pPr>
            <a:endParaRPr lang="en-US" dirty="0"/>
          </a:p>
          <a:p>
            <a:pPr marL="0" indent="0">
              <a:buNone/>
            </a:pPr>
            <a:r>
              <a:rPr lang="en-US" sz="3600" i="1" dirty="0"/>
              <a:t>“A complex system that works is invariably found to have evolved from a simple system that works. The inverse proposition also appears to be true: A complex system designed from scratch never works and cannot be made to work.”</a:t>
            </a:r>
          </a:p>
          <a:p>
            <a:endParaRPr lang="en-US" dirty="0"/>
          </a:p>
          <a:p>
            <a:pPr marL="0" indent="0">
              <a:buNone/>
            </a:pPr>
            <a:r>
              <a:rPr lang="en-US" dirty="0"/>
              <a:t>-- John Gall</a:t>
            </a:r>
          </a:p>
        </p:txBody>
      </p:sp>
    </p:spTree>
    <p:extLst>
      <p:ext uri="{BB962C8B-B14F-4D97-AF65-F5344CB8AC3E}">
        <p14:creationId xmlns:p14="http://schemas.microsoft.com/office/powerpoint/2010/main" val="24013747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descr="A person wearing a suit and tie&#10;&#10;Description automatically generated">
            <a:extLst>
              <a:ext uri="{FF2B5EF4-FFF2-40B4-BE49-F238E27FC236}">
                <a16:creationId xmlns:a16="http://schemas.microsoft.com/office/drawing/2014/main" id="{21237B72-522E-4EE2-99F9-9E6C61D896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133567" y="0"/>
            <a:ext cx="9121676" cy="6858000"/>
          </a:xfrm>
          <a:prstGeom prst="rect">
            <a:avLst/>
          </a:prstGeom>
        </p:spPr>
      </p:pic>
      <p:sp>
        <p:nvSpPr>
          <p:cNvPr id="6" name="TextBox 5">
            <a:extLst>
              <a:ext uri="{FF2B5EF4-FFF2-40B4-BE49-F238E27FC236}">
                <a16:creationId xmlns:a16="http://schemas.microsoft.com/office/drawing/2014/main" id="{FDBA59C9-28B3-4086-9CEC-8D05963619C0}"/>
              </a:ext>
            </a:extLst>
          </p:cNvPr>
          <p:cNvSpPr txBox="1"/>
          <p:nvPr/>
        </p:nvSpPr>
        <p:spPr>
          <a:xfrm>
            <a:off x="307639" y="501794"/>
            <a:ext cx="7258888" cy="5016758"/>
          </a:xfrm>
          <a:prstGeom prst="rect">
            <a:avLst/>
          </a:prstGeom>
          <a:noFill/>
        </p:spPr>
        <p:txBody>
          <a:bodyPr wrap="square" rtlCol="0">
            <a:spAutoFit/>
          </a:bodyPr>
          <a:lstStyle/>
          <a:p>
            <a:pPr algn="ctr"/>
            <a:r>
              <a:rPr lang="en-US" sz="4800" dirty="0">
                <a:solidFill>
                  <a:schemeClr val="bg1"/>
                </a:solidFill>
                <a:latin typeface="Segoe UI Semibold" panose="020B0702040204020203" pitchFamily="34" charset="0"/>
                <a:cs typeface="Segoe UI Semibold" panose="020B0702040204020203" pitchFamily="34" charset="0"/>
              </a:rPr>
              <a:t>Strategy without tactics is the slowest route to victory. Tactics without strategy is the noise before defeat.</a:t>
            </a:r>
          </a:p>
          <a:p>
            <a:pPr algn="ctr"/>
            <a:endParaRPr lang="en-US" sz="4400" dirty="0">
              <a:solidFill>
                <a:schemeClr val="bg1"/>
              </a:solidFill>
              <a:latin typeface="Segoe UI Semibold" panose="020B0702040204020203" pitchFamily="34" charset="0"/>
              <a:cs typeface="Segoe UI Semibold" panose="020B0702040204020203" pitchFamily="34" charset="0"/>
            </a:endParaRPr>
          </a:p>
          <a:p>
            <a:pPr algn="ctr"/>
            <a:r>
              <a:rPr lang="en-US" sz="3600" dirty="0">
                <a:solidFill>
                  <a:schemeClr val="bg1"/>
                </a:solidFill>
                <a:latin typeface="Segoe UI Semibold" panose="020B0702040204020203" pitchFamily="34" charset="0"/>
                <a:cs typeface="Segoe UI Semibold" panose="020B0702040204020203" pitchFamily="34" charset="0"/>
              </a:rPr>
              <a:t>Sun Tzu</a:t>
            </a:r>
          </a:p>
        </p:txBody>
      </p:sp>
    </p:spTree>
    <p:extLst>
      <p:ext uri="{BB962C8B-B14F-4D97-AF65-F5344CB8AC3E}">
        <p14:creationId xmlns:p14="http://schemas.microsoft.com/office/powerpoint/2010/main" val="28635222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E712575-8EF4-4896-BB15-0BE9DE5900A8}"/>
              </a:ext>
            </a:extLst>
          </p:cNvPr>
          <p:cNvSpPr>
            <a:spLocks noGrp="1"/>
          </p:cNvSpPr>
          <p:nvPr>
            <p:ph type="title"/>
          </p:nvPr>
        </p:nvSpPr>
        <p:spPr/>
        <p:txBody>
          <a:bodyPr/>
          <a:lstStyle/>
          <a:p>
            <a:r>
              <a:rPr lang="en-US" dirty="0"/>
              <a:t>There is no single path to success </a:t>
            </a:r>
          </a:p>
        </p:txBody>
      </p:sp>
      <p:sp>
        <p:nvSpPr>
          <p:cNvPr id="5" name="Content Placeholder 4">
            <a:extLst>
              <a:ext uri="{FF2B5EF4-FFF2-40B4-BE49-F238E27FC236}">
                <a16:creationId xmlns:a16="http://schemas.microsoft.com/office/drawing/2014/main" id="{E2503175-D4BE-4254-9232-74BDBBA7F31F}"/>
              </a:ext>
            </a:extLst>
          </p:cNvPr>
          <p:cNvSpPr>
            <a:spLocks noGrp="1"/>
          </p:cNvSpPr>
          <p:nvPr>
            <p:ph sz="half" idx="1"/>
          </p:nvPr>
        </p:nvSpPr>
        <p:spPr>
          <a:xfrm>
            <a:off x="667656" y="1393371"/>
            <a:ext cx="11290664" cy="1756229"/>
          </a:xfrm>
        </p:spPr>
        <p:txBody>
          <a:bodyPr>
            <a:normAutofit lnSpcReduction="10000"/>
          </a:bodyPr>
          <a:lstStyle/>
          <a:p>
            <a:pPr marL="0" indent="0">
              <a:buNone/>
            </a:pPr>
            <a:r>
              <a:rPr lang="en-US" sz="4800" dirty="0"/>
              <a:t>“All happy families are alike; each unhappy family is unhappy in its own way.”</a:t>
            </a:r>
          </a:p>
          <a:p>
            <a:pPr marL="0" indent="0">
              <a:buNone/>
            </a:pPr>
            <a:r>
              <a:rPr lang="en-US" dirty="0"/>
              <a:t>-- Leo Tolstoy, Anna Karenina</a:t>
            </a:r>
          </a:p>
        </p:txBody>
      </p:sp>
      <p:pic>
        <p:nvPicPr>
          <p:cNvPr id="8" name="Picture 7">
            <a:extLst>
              <a:ext uri="{FF2B5EF4-FFF2-40B4-BE49-F238E27FC236}">
                <a16:creationId xmlns:a16="http://schemas.microsoft.com/office/drawing/2014/main" id="{53C17F9F-19F9-4C09-A0A7-C07BF089D7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rot="21200908">
            <a:off x="1039472" y="3307762"/>
            <a:ext cx="4509421" cy="2536549"/>
          </a:xfrm>
          <a:prstGeom prst="rect">
            <a:avLst/>
          </a:prstGeom>
          <a:ln>
            <a:noFill/>
          </a:ln>
          <a:effectLst>
            <a:outerShdw blurRad="292100" dist="139700" dir="2700000" algn="tl" rotWithShape="0">
              <a:srgbClr val="333333">
                <a:alpha val="65000"/>
              </a:srgbClr>
            </a:outerShdw>
          </a:effectLst>
        </p:spPr>
      </p:pic>
      <p:pic>
        <p:nvPicPr>
          <p:cNvPr id="6" name="Picture 5" descr="A picture containing tree, outdoor, water, nature&#10;&#10;Description automatically generated">
            <a:extLst>
              <a:ext uri="{FF2B5EF4-FFF2-40B4-BE49-F238E27FC236}">
                <a16:creationId xmlns:a16="http://schemas.microsoft.com/office/drawing/2014/main" id="{1298823F-33F3-4CC1-89F6-ED8EF3DD7790}"/>
              </a:ext>
            </a:extLst>
          </p:cNvPr>
          <p:cNvPicPr>
            <a:picLocks noChangeAspect="1"/>
          </p:cNvPicPr>
          <p:nvPr/>
        </p:nvPicPr>
        <p:blipFill rotWithShape="1">
          <a:blip r:embed="rId4">
            <a:extLst>
              <a:ext uri="{28A0092B-C50C-407E-A947-70E740481C1C}">
                <a14:useLocalDpi xmlns:a14="http://schemas.microsoft.com/office/drawing/2010/main" val="0"/>
              </a:ext>
            </a:extLst>
          </a:blip>
          <a:srcRect b="19717"/>
          <a:stretch/>
        </p:blipFill>
        <p:spPr>
          <a:xfrm rot="21200908">
            <a:off x="6655580" y="3198124"/>
            <a:ext cx="4576842" cy="27558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58101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0BA652-9F4D-4F36-BF2A-DB3FE0B4E0D8}"/>
              </a:ext>
            </a:extLst>
          </p:cNvPr>
          <p:cNvSpPr>
            <a:spLocks noGrp="1"/>
          </p:cNvSpPr>
          <p:nvPr>
            <p:ph type="title"/>
          </p:nvPr>
        </p:nvSpPr>
        <p:spPr/>
        <p:txBody>
          <a:bodyPr/>
          <a:lstStyle/>
          <a:p>
            <a:r>
              <a:rPr lang="en-US"/>
              <a:t>Summary and resources</a:t>
            </a:r>
          </a:p>
        </p:txBody>
      </p:sp>
    </p:spTree>
    <p:extLst>
      <p:ext uri="{BB962C8B-B14F-4D97-AF65-F5344CB8AC3E}">
        <p14:creationId xmlns:p14="http://schemas.microsoft.com/office/powerpoint/2010/main" val="28994241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9F2E0-5722-446E-9375-066A67116CC9}"/>
              </a:ext>
            </a:extLst>
          </p:cNvPr>
          <p:cNvSpPr>
            <a:spLocks noGrp="1"/>
          </p:cNvSpPr>
          <p:nvPr>
            <p:ph type="title"/>
          </p:nvPr>
        </p:nvSpPr>
        <p:spPr/>
        <p:txBody>
          <a:bodyPr/>
          <a:lstStyle/>
          <a:p>
            <a:r>
              <a:rPr lang="en-US" dirty="0"/>
              <a:t>Related content</a:t>
            </a:r>
          </a:p>
        </p:txBody>
      </p:sp>
      <p:sp>
        <p:nvSpPr>
          <p:cNvPr id="3" name="Content Placeholder 2">
            <a:extLst>
              <a:ext uri="{FF2B5EF4-FFF2-40B4-BE49-F238E27FC236}">
                <a16:creationId xmlns:a16="http://schemas.microsoft.com/office/drawing/2014/main" id="{923BB511-FDDB-4C6F-8004-50ECF714021A}"/>
              </a:ext>
            </a:extLst>
          </p:cNvPr>
          <p:cNvSpPr>
            <a:spLocks noGrp="1"/>
          </p:cNvSpPr>
          <p:nvPr>
            <p:ph idx="1"/>
          </p:nvPr>
        </p:nvSpPr>
        <p:spPr/>
        <p:txBody>
          <a:bodyPr>
            <a:normAutofit fontScale="85000" lnSpcReduction="10000"/>
          </a:bodyPr>
          <a:lstStyle/>
          <a:p>
            <a:r>
              <a:rPr lang="en-US" dirty="0"/>
              <a:t>Power BI Adoption Roadmap</a:t>
            </a:r>
          </a:p>
          <a:p>
            <a:pPr lvl="1"/>
            <a:r>
              <a:rPr lang="en-US" dirty="0">
                <a:hlinkClick r:id="rId3"/>
              </a:rPr>
              <a:t>https://docs.microsoft.com/en-us/power-bi/guidance/powerbi-adoption-roadmap-overview</a:t>
            </a:r>
            <a:r>
              <a:rPr lang="en-US" dirty="0"/>
              <a:t> </a:t>
            </a:r>
          </a:p>
          <a:p>
            <a:r>
              <a:rPr lang="en-US" dirty="0"/>
              <a:t>Power BI documentation</a:t>
            </a:r>
          </a:p>
          <a:p>
            <a:pPr lvl="1"/>
            <a:r>
              <a:rPr lang="en-US" dirty="0">
                <a:hlinkClick r:id="rId4"/>
              </a:rPr>
              <a:t>https://docs.microsoft.com/en-us/power-bi/guidance/</a:t>
            </a:r>
            <a:endParaRPr lang="en-US" dirty="0"/>
          </a:p>
          <a:p>
            <a:pPr lvl="1"/>
            <a:r>
              <a:rPr lang="en-US" dirty="0">
                <a:hlinkClick r:id="rId5"/>
              </a:rPr>
              <a:t>https://aka.ms/PBIEnterpriseDeploymentWP</a:t>
            </a:r>
            <a:r>
              <a:rPr lang="en-US" dirty="0"/>
              <a:t> </a:t>
            </a:r>
          </a:p>
          <a:p>
            <a:r>
              <a:rPr lang="en-US" dirty="0"/>
              <a:t>Matthew Roche’s blog and YouTube:</a:t>
            </a:r>
          </a:p>
          <a:p>
            <a:pPr lvl="1"/>
            <a:r>
              <a:rPr lang="en-US" dirty="0">
                <a:hlinkClick r:id="rId6"/>
              </a:rPr>
              <a:t>https://ssbipolar.com/building-a-data-culture/</a:t>
            </a:r>
            <a:r>
              <a:rPr lang="en-US" dirty="0"/>
              <a:t> </a:t>
            </a:r>
          </a:p>
          <a:p>
            <a:pPr lvl="1"/>
            <a:r>
              <a:rPr lang="en-US" dirty="0"/>
              <a:t>☝ 17-video “Building a data culture” YouTube series + much more</a:t>
            </a:r>
          </a:p>
          <a:p>
            <a:r>
              <a:rPr lang="en-US" dirty="0"/>
              <a:t>Power BI Adoption Framework</a:t>
            </a:r>
          </a:p>
          <a:p>
            <a:pPr lvl="1"/>
            <a:r>
              <a:rPr lang="en-US" dirty="0">
                <a:hlinkClick r:id="rId7"/>
              </a:rPr>
              <a:t>https://github.com/pbiaf/powerbiadoption</a:t>
            </a:r>
            <a:r>
              <a:rPr lang="en-US" dirty="0"/>
              <a:t> </a:t>
            </a:r>
          </a:p>
          <a:p>
            <a:r>
              <a:rPr lang="en-US" dirty="0"/>
              <a:t>Power BI customer success stories</a:t>
            </a:r>
          </a:p>
          <a:p>
            <a:pPr lvl="1"/>
            <a:r>
              <a:rPr lang="en-US" dirty="0">
                <a:hlinkClick r:id="rId8"/>
              </a:rPr>
              <a:t>https://customers.microsoft.com/en-us/story/857107-nestle-consumer-goods-azure-power-bi</a:t>
            </a:r>
            <a:r>
              <a:rPr lang="en-US" dirty="0"/>
              <a:t> </a:t>
            </a:r>
          </a:p>
        </p:txBody>
      </p:sp>
    </p:spTree>
    <p:extLst>
      <p:ext uri="{BB962C8B-B14F-4D97-AF65-F5344CB8AC3E}">
        <p14:creationId xmlns:p14="http://schemas.microsoft.com/office/powerpoint/2010/main" val="409482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D65CA-997B-46A4-85A7-26956CC114AF}"/>
              </a:ext>
            </a:extLst>
          </p:cNvPr>
          <p:cNvSpPr>
            <a:spLocks noGrp="1"/>
          </p:cNvSpPr>
          <p:nvPr>
            <p:ph type="title"/>
          </p:nvPr>
        </p:nvSpPr>
        <p:spPr/>
        <p:txBody>
          <a:bodyPr/>
          <a:lstStyle/>
          <a:p>
            <a:r>
              <a:rPr lang="en-US" sz="6600" dirty="0"/>
              <a:t>A brief history</a:t>
            </a:r>
            <a:br>
              <a:rPr lang="en-US" sz="6600" dirty="0"/>
            </a:br>
            <a:r>
              <a:rPr lang="en-US" sz="6600" dirty="0"/>
              <a:t>of business intelligence</a:t>
            </a:r>
          </a:p>
        </p:txBody>
      </p:sp>
    </p:spTree>
    <p:extLst>
      <p:ext uri="{BB962C8B-B14F-4D97-AF65-F5344CB8AC3E}">
        <p14:creationId xmlns:p14="http://schemas.microsoft.com/office/powerpoint/2010/main" val="35372274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B4303F-BBDD-465F-A4A3-6CD7145755F4}"/>
              </a:ext>
            </a:extLst>
          </p:cNvPr>
          <p:cNvSpPr>
            <a:spLocks noGrp="1"/>
          </p:cNvSpPr>
          <p:nvPr>
            <p:ph type="title"/>
          </p:nvPr>
        </p:nvSpPr>
        <p:spPr/>
        <p:txBody>
          <a:bodyPr/>
          <a:lstStyle/>
          <a:p>
            <a:r>
              <a:rPr lang="en-US" dirty="0"/>
              <a:t>Power BI Adoption Roadmap</a:t>
            </a:r>
          </a:p>
        </p:txBody>
      </p:sp>
      <p:sp>
        <p:nvSpPr>
          <p:cNvPr id="6" name="Content Placeholder 5">
            <a:extLst>
              <a:ext uri="{FF2B5EF4-FFF2-40B4-BE49-F238E27FC236}">
                <a16:creationId xmlns:a16="http://schemas.microsoft.com/office/drawing/2014/main" id="{82B1D216-1EAA-4CE4-BF7A-9ECEB3486715}"/>
              </a:ext>
            </a:extLst>
          </p:cNvPr>
          <p:cNvSpPr>
            <a:spLocks noGrp="1"/>
          </p:cNvSpPr>
          <p:nvPr>
            <p:ph sz="half" idx="1"/>
          </p:nvPr>
        </p:nvSpPr>
        <p:spPr/>
        <p:txBody>
          <a:bodyPr>
            <a:normAutofit fontScale="85000" lnSpcReduction="20000"/>
          </a:bodyPr>
          <a:lstStyle/>
          <a:p>
            <a:r>
              <a:rPr lang="en-US" dirty="0"/>
              <a:t>Contents</a:t>
            </a:r>
          </a:p>
          <a:p>
            <a:pPr lvl="1"/>
            <a:r>
              <a:rPr lang="en-US" dirty="0"/>
              <a:t>Data culture</a:t>
            </a:r>
          </a:p>
          <a:p>
            <a:pPr lvl="1"/>
            <a:r>
              <a:rPr lang="en-US" dirty="0"/>
              <a:t>Executive sponsorship</a:t>
            </a:r>
          </a:p>
          <a:p>
            <a:pPr lvl="1"/>
            <a:r>
              <a:rPr lang="en-US" dirty="0"/>
              <a:t>Content ownership</a:t>
            </a:r>
          </a:p>
          <a:p>
            <a:pPr lvl="1"/>
            <a:r>
              <a:rPr lang="en-US" dirty="0"/>
              <a:t>Content delivery scope</a:t>
            </a:r>
          </a:p>
          <a:p>
            <a:pPr lvl="1"/>
            <a:r>
              <a:rPr lang="en-US" dirty="0"/>
              <a:t>Center of excellence</a:t>
            </a:r>
          </a:p>
          <a:p>
            <a:pPr lvl="1"/>
            <a:r>
              <a:rPr lang="en-US" dirty="0"/>
              <a:t>Governance</a:t>
            </a:r>
          </a:p>
          <a:p>
            <a:pPr lvl="1"/>
            <a:r>
              <a:rPr lang="en-US" dirty="0"/>
              <a:t>Mentoring and user enablement</a:t>
            </a:r>
          </a:p>
          <a:p>
            <a:pPr lvl="1"/>
            <a:r>
              <a:rPr lang="en-US" dirty="0"/>
              <a:t>Community of practice</a:t>
            </a:r>
          </a:p>
          <a:p>
            <a:pPr lvl="1"/>
            <a:r>
              <a:rPr lang="en-US" dirty="0"/>
              <a:t>User support</a:t>
            </a:r>
          </a:p>
          <a:p>
            <a:pPr lvl="1"/>
            <a:r>
              <a:rPr lang="en-US" dirty="0"/>
              <a:t>System oversight</a:t>
            </a:r>
          </a:p>
          <a:p>
            <a:r>
              <a:rPr lang="en-US" dirty="0"/>
              <a:t>Consistent guidance</a:t>
            </a:r>
          </a:p>
          <a:p>
            <a:pPr lvl="1"/>
            <a:r>
              <a:rPr lang="en-US" dirty="0"/>
              <a:t>Concepts and context</a:t>
            </a:r>
          </a:p>
          <a:p>
            <a:pPr lvl="1"/>
            <a:r>
              <a:rPr lang="en-US" dirty="0"/>
              <a:t>Considerations and key actions</a:t>
            </a:r>
          </a:p>
          <a:p>
            <a:pPr lvl="1"/>
            <a:r>
              <a:rPr lang="en-US" dirty="0"/>
              <a:t>Maturity levels</a:t>
            </a:r>
          </a:p>
        </p:txBody>
      </p:sp>
      <p:pic>
        <p:nvPicPr>
          <p:cNvPr id="1026" name="Picture 2" descr="Diagram&#10;&#10;Description automatically generated">
            <a:extLst>
              <a:ext uri="{FF2B5EF4-FFF2-40B4-BE49-F238E27FC236}">
                <a16:creationId xmlns:a16="http://schemas.microsoft.com/office/drawing/2014/main" id="{F5D37000-E843-4169-81CF-8B82D6453D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5743" y="1469663"/>
            <a:ext cx="4038601" cy="4120632"/>
          </a:xfrm>
          <a:prstGeom prst="rect">
            <a:avLst/>
          </a:prstGeom>
          <a:noFill/>
        </p:spPr>
      </p:pic>
    </p:spTree>
    <p:extLst>
      <p:ext uri="{BB962C8B-B14F-4D97-AF65-F5344CB8AC3E}">
        <p14:creationId xmlns:p14="http://schemas.microsoft.com/office/powerpoint/2010/main" val="31622411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0CC67A-5BA0-4263-AB64-D8E4E56658B2}"/>
              </a:ext>
            </a:extLst>
          </p:cNvPr>
          <p:cNvSpPr>
            <a:spLocks noGrp="1"/>
          </p:cNvSpPr>
          <p:nvPr>
            <p:ph type="title"/>
          </p:nvPr>
        </p:nvSpPr>
        <p:spPr/>
        <p:txBody>
          <a:bodyPr/>
          <a:lstStyle/>
          <a:p>
            <a:r>
              <a:rPr lang="en-US"/>
              <a:t>Q&amp;A</a:t>
            </a:r>
          </a:p>
        </p:txBody>
      </p:sp>
    </p:spTree>
    <p:extLst>
      <p:ext uri="{BB962C8B-B14F-4D97-AF65-F5344CB8AC3E}">
        <p14:creationId xmlns:p14="http://schemas.microsoft.com/office/powerpoint/2010/main" val="15012301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CD08BC-E44E-4C81-8A67-EA9E59B7F193}"/>
              </a:ext>
            </a:extLst>
          </p:cNvPr>
          <p:cNvSpPr>
            <a:spLocks noGrp="1"/>
          </p:cNvSpPr>
          <p:nvPr>
            <p:ph type="title"/>
          </p:nvPr>
        </p:nvSpPr>
        <p:spPr>
          <a:xfrm>
            <a:off x="534411" y="1280081"/>
            <a:ext cx="5959567" cy="2852737"/>
          </a:xfrm>
        </p:spPr>
        <p:txBody>
          <a:bodyPr>
            <a:normAutofit/>
          </a:bodyPr>
          <a:lstStyle/>
          <a:p>
            <a:r>
              <a:rPr lang="en-US" dirty="0"/>
              <a:t>Building a Data Culture with Power BI</a:t>
            </a:r>
          </a:p>
        </p:txBody>
      </p:sp>
      <p:sp>
        <p:nvSpPr>
          <p:cNvPr id="5" name="Text Placeholder 4">
            <a:extLst>
              <a:ext uri="{FF2B5EF4-FFF2-40B4-BE49-F238E27FC236}">
                <a16:creationId xmlns:a16="http://schemas.microsoft.com/office/drawing/2014/main" id="{A8E0CCDC-B809-4657-B42A-97132F520792}"/>
              </a:ext>
            </a:extLst>
          </p:cNvPr>
          <p:cNvSpPr>
            <a:spLocks noGrp="1"/>
          </p:cNvSpPr>
          <p:nvPr>
            <p:ph type="body" idx="1"/>
          </p:nvPr>
        </p:nvSpPr>
        <p:spPr>
          <a:xfrm>
            <a:off x="534411" y="4589464"/>
            <a:ext cx="5830207" cy="1962256"/>
          </a:xfrm>
        </p:spPr>
        <p:txBody>
          <a:bodyPr>
            <a:normAutofit/>
          </a:bodyPr>
          <a:lstStyle/>
          <a:p>
            <a:r>
              <a:rPr lang="en-US" sz="3200" dirty="0"/>
              <a:t>Matthew Roche</a:t>
            </a:r>
          </a:p>
          <a:p>
            <a:r>
              <a:rPr lang="en-US" dirty="0"/>
              <a:t>Principal Program Manager</a:t>
            </a:r>
            <a:br>
              <a:rPr lang="en-US" dirty="0"/>
            </a:br>
            <a:r>
              <a:rPr lang="en-US" dirty="0"/>
              <a:t>Microsoft</a:t>
            </a:r>
          </a:p>
          <a:p>
            <a:r>
              <a:rPr lang="en-US" dirty="0"/>
              <a:t>@SQLAllFather   |   https://ssbipolar.com/</a:t>
            </a:r>
          </a:p>
        </p:txBody>
      </p:sp>
    </p:spTree>
    <p:extLst>
      <p:ext uri="{BB962C8B-B14F-4D97-AF65-F5344CB8AC3E}">
        <p14:creationId xmlns:p14="http://schemas.microsoft.com/office/powerpoint/2010/main" val="2031384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0CC67A-5BA0-4263-AB64-D8E4E56658B2}"/>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102325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01659B65-74F9-4D6F-9EFB-FCD7844B2102}"/>
              </a:ext>
            </a:extLst>
          </p:cNvPr>
          <p:cNvGrpSpPr>
            <a:grpSpLocks noChangeAspect="1"/>
          </p:cNvGrpSpPr>
          <p:nvPr/>
        </p:nvGrpSpPr>
        <p:grpSpPr>
          <a:xfrm>
            <a:off x="10153850" y="2172360"/>
            <a:ext cx="1510741" cy="829805"/>
            <a:chOff x="6640994" y="2863476"/>
            <a:chExt cx="1140953" cy="626692"/>
          </a:xfrm>
        </p:grpSpPr>
        <p:pic>
          <p:nvPicPr>
            <p:cNvPr id="33" name="Picture 4" descr="\\SFP\Work\White_Whale\3-22036_Kuleen_Bharadwaj\PPT\3_PlatformVision_Kuleen\SFP_Art\Plane Slide\woman.png">
              <a:extLst>
                <a:ext uri="{FF2B5EF4-FFF2-40B4-BE49-F238E27FC236}">
                  <a16:creationId xmlns:a16="http://schemas.microsoft.com/office/drawing/2014/main" id="{5847EACF-E1C7-4392-8BB2-F904E0E20E0F}"/>
                </a:ext>
              </a:extLst>
            </p:cNvPr>
            <p:cNvPicPr>
              <a:picLocks noChangeAspect="1" noChangeArrowheads="1"/>
            </p:cNvPicPr>
            <p:nvPr/>
          </p:nvPicPr>
          <p:blipFill>
            <a:blip r:embed="rId3"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962820" y="2863476"/>
              <a:ext cx="472074" cy="54864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SFP\Work\White_Whale\3-22036_Kuleen_Bharadwaj\PPT\3_PlatformVision_Kuleen\SFP_Art\Plane Slide\man_tie.png">
              <a:extLst>
                <a:ext uri="{FF2B5EF4-FFF2-40B4-BE49-F238E27FC236}">
                  <a16:creationId xmlns:a16="http://schemas.microsoft.com/office/drawing/2014/main" id="{2F549635-6394-4957-9EE1-B5C75E20FDB5}"/>
                </a:ext>
              </a:extLst>
            </p:cNvPr>
            <p:cNvPicPr>
              <a:picLocks noChangeAspect="1" noChangeArrowheads="1"/>
            </p:cNvPicPr>
            <p:nvPr/>
          </p:nvPicPr>
          <p:blipFill>
            <a:blip r:embed="rId4"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640994" y="2914598"/>
              <a:ext cx="467092" cy="54864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SFP\Work\White_Whale\3-22036_Kuleen_Bharadwaj\PPT\3_PlatformVision_Kuleen\SFP_Art\Plane Slide\mon_notie.png">
              <a:extLst>
                <a:ext uri="{FF2B5EF4-FFF2-40B4-BE49-F238E27FC236}">
                  <a16:creationId xmlns:a16="http://schemas.microsoft.com/office/drawing/2014/main" id="{FE79B5AA-92A8-4310-819B-9759B3F81DA4}"/>
                </a:ext>
              </a:extLst>
            </p:cNvPr>
            <p:cNvPicPr>
              <a:picLocks noChangeAspect="1" noChangeArrowheads="1"/>
            </p:cNvPicPr>
            <p:nvPr/>
          </p:nvPicPr>
          <p:blipFill>
            <a:blip r:embed="rId5"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7314255" y="2941528"/>
              <a:ext cx="467692" cy="548640"/>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Picture 35" descr="\\MAGNUM\Projects\Microsoft\Cloud Power FY12\Design\ICONS_PNG\Gears.png">
            <a:extLst>
              <a:ext uri="{FF2B5EF4-FFF2-40B4-BE49-F238E27FC236}">
                <a16:creationId xmlns:a16="http://schemas.microsoft.com/office/drawing/2014/main" id="{7A8CB03D-B2AA-4182-A0DF-1C02DEF37190}"/>
              </a:ext>
            </a:extLst>
          </p:cNvPr>
          <p:cNvPicPr>
            <a:picLocks noChangeAspect="1" noChangeArrowheads="1"/>
          </p:cNvPicPr>
          <p:nvPr>
            <p:custDataLst>
              <p:tags r:id="rId1"/>
            </p:custDataLst>
          </p:nvPr>
        </p:nvPicPr>
        <p:blipFill rotWithShape="1">
          <a:blip r:embed="rId6" cstate="print">
            <a:lum bright="100000"/>
          </a:blip>
          <a:srcRect l="11539" t="18856" r="11057" b="19124"/>
          <a:stretch/>
        </p:blipFill>
        <p:spPr bwMode="auto">
          <a:xfrm flipH="1">
            <a:off x="2123474" y="2886373"/>
            <a:ext cx="990585" cy="793697"/>
          </a:xfrm>
          <a:prstGeom prst="rect">
            <a:avLst/>
          </a:prstGeom>
          <a:noFill/>
        </p:spPr>
      </p:pic>
      <p:grpSp>
        <p:nvGrpSpPr>
          <p:cNvPr id="37" name="Group 36">
            <a:extLst>
              <a:ext uri="{FF2B5EF4-FFF2-40B4-BE49-F238E27FC236}">
                <a16:creationId xmlns:a16="http://schemas.microsoft.com/office/drawing/2014/main" id="{A14E527A-1E81-4F86-B5F5-1BEA3DACE819}"/>
              </a:ext>
            </a:extLst>
          </p:cNvPr>
          <p:cNvGrpSpPr>
            <a:grpSpLocks noChangeAspect="1"/>
          </p:cNvGrpSpPr>
          <p:nvPr/>
        </p:nvGrpSpPr>
        <p:grpSpPr>
          <a:xfrm>
            <a:off x="694462" y="1629177"/>
            <a:ext cx="708271" cy="919761"/>
            <a:chOff x="377825" y="1184276"/>
            <a:chExt cx="1020763" cy="1325563"/>
          </a:xfrm>
        </p:grpSpPr>
        <p:sp>
          <p:nvSpPr>
            <p:cNvPr id="38" name="Oval 122">
              <a:extLst>
                <a:ext uri="{FF2B5EF4-FFF2-40B4-BE49-F238E27FC236}">
                  <a16:creationId xmlns:a16="http://schemas.microsoft.com/office/drawing/2014/main" id="{386F2CBA-5AE9-4A05-9D38-E161FFD1F500}"/>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39" name="Freeform 123">
              <a:extLst>
                <a:ext uri="{FF2B5EF4-FFF2-40B4-BE49-F238E27FC236}">
                  <a16:creationId xmlns:a16="http://schemas.microsoft.com/office/drawing/2014/main" id="{136D074A-A4C4-485E-A5B9-9A5C283E7375}"/>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0" name="Group 39">
            <a:extLst>
              <a:ext uri="{FF2B5EF4-FFF2-40B4-BE49-F238E27FC236}">
                <a16:creationId xmlns:a16="http://schemas.microsoft.com/office/drawing/2014/main" id="{BD885EF7-9735-4A23-889D-79369A4FF9EB}"/>
              </a:ext>
            </a:extLst>
          </p:cNvPr>
          <p:cNvGrpSpPr>
            <a:grpSpLocks noChangeAspect="1"/>
          </p:cNvGrpSpPr>
          <p:nvPr/>
        </p:nvGrpSpPr>
        <p:grpSpPr>
          <a:xfrm>
            <a:off x="681208" y="2806352"/>
            <a:ext cx="708271" cy="919761"/>
            <a:chOff x="377825" y="1184276"/>
            <a:chExt cx="1020763" cy="1325563"/>
          </a:xfrm>
        </p:grpSpPr>
        <p:sp>
          <p:nvSpPr>
            <p:cNvPr id="41" name="Oval 122">
              <a:extLst>
                <a:ext uri="{FF2B5EF4-FFF2-40B4-BE49-F238E27FC236}">
                  <a16:creationId xmlns:a16="http://schemas.microsoft.com/office/drawing/2014/main" id="{CD7C228E-25F6-45B4-B8DB-7BB86D5108CB}"/>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2" name="Freeform 123">
              <a:extLst>
                <a:ext uri="{FF2B5EF4-FFF2-40B4-BE49-F238E27FC236}">
                  <a16:creationId xmlns:a16="http://schemas.microsoft.com/office/drawing/2014/main" id="{E0A596A8-C65E-4FC6-AAA3-11A1E07E157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3" name="Group 42">
            <a:extLst>
              <a:ext uri="{FF2B5EF4-FFF2-40B4-BE49-F238E27FC236}">
                <a16:creationId xmlns:a16="http://schemas.microsoft.com/office/drawing/2014/main" id="{97D1583E-C6B7-4138-A42D-B5B129B8E672}"/>
              </a:ext>
            </a:extLst>
          </p:cNvPr>
          <p:cNvGrpSpPr>
            <a:grpSpLocks noChangeAspect="1"/>
          </p:cNvGrpSpPr>
          <p:nvPr/>
        </p:nvGrpSpPr>
        <p:grpSpPr>
          <a:xfrm>
            <a:off x="693325" y="4072914"/>
            <a:ext cx="708271" cy="919761"/>
            <a:chOff x="377825" y="1184276"/>
            <a:chExt cx="1020763" cy="1325563"/>
          </a:xfrm>
        </p:grpSpPr>
        <p:sp>
          <p:nvSpPr>
            <p:cNvPr id="44" name="Oval 122">
              <a:extLst>
                <a:ext uri="{FF2B5EF4-FFF2-40B4-BE49-F238E27FC236}">
                  <a16:creationId xmlns:a16="http://schemas.microsoft.com/office/drawing/2014/main" id="{536EE2A2-625A-4671-ABAD-4B3A4881CB06}"/>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5" name="Freeform 123">
              <a:extLst>
                <a:ext uri="{FF2B5EF4-FFF2-40B4-BE49-F238E27FC236}">
                  <a16:creationId xmlns:a16="http://schemas.microsoft.com/office/drawing/2014/main" id="{367C82D9-253C-4311-8632-83AD910359F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pic>
        <p:nvPicPr>
          <p:cNvPr id="46" name="Picture 8">
            <a:extLst>
              <a:ext uri="{FF2B5EF4-FFF2-40B4-BE49-F238E27FC236}">
                <a16:creationId xmlns:a16="http://schemas.microsoft.com/office/drawing/2014/main" id="{35BE67D2-66CB-46D6-834A-421667C6D71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18615" y="2290752"/>
            <a:ext cx="1317611" cy="104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7" descr="\\SFP\Work\White_Whale\3-22036_Kuleen_Bharadwaj\PPT\4_SQL Server Renewal\SFP_Art\Icons\Chris Icons\cube_blue.png">
            <a:extLst>
              <a:ext uri="{FF2B5EF4-FFF2-40B4-BE49-F238E27FC236}">
                <a16:creationId xmlns:a16="http://schemas.microsoft.com/office/drawing/2014/main" id="{44D1EA5D-62C7-4E7F-ACA3-FFC1A13A99ED}"/>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tretch>
            <a:fillRect/>
          </a:stretch>
        </p:blipFill>
        <p:spPr bwMode="auto">
          <a:xfrm>
            <a:off x="6098987" y="2828710"/>
            <a:ext cx="1322598" cy="11849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E9BB97F0-7FEF-4064-9734-873801418C62}"/>
              </a:ext>
            </a:extLst>
          </p:cNvPr>
          <p:cNvGrpSpPr/>
          <p:nvPr/>
        </p:nvGrpSpPr>
        <p:grpSpPr>
          <a:xfrm>
            <a:off x="8504627" y="1953848"/>
            <a:ext cx="851803" cy="942828"/>
            <a:chOff x="-4557713" y="979488"/>
            <a:chExt cx="4233863" cy="4233862"/>
          </a:xfrm>
          <a:solidFill>
            <a:sysClr val="window" lastClr="FFFFFF"/>
          </a:solidFill>
        </p:grpSpPr>
        <p:sp>
          <p:nvSpPr>
            <p:cNvPr id="49" name="Freeform 30">
              <a:extLst>
                <a:ext uri="{FF2B5EF4-FFF2-40B4-BE49-F238E27FC236}">
                  <a16:creationId xmlns:a16="http://schemas.microsoft.com/office/drawing/2014/main" id="{B7468B07-6D2B-4E60-9826-5B66B641A422}"/>
                </a:ext>
              </a:extLst>
            </p:cNvPr>
            <p:cNvSpPr>
              <a:spLocks noEditPoints="1"/>
            </p:cNvSpPr>
            <p:nvPr/>
          </p:nvSpPr>
          <p:spPr bwMode="auto">
            <a:xfrm>
              <a:off x="-4557713" y="979488"/>
              <a:ext cx="4233863" cy="4233862"/>
            </a:xfrm>
            <a:custGeom>
              <a:avLst/>
              <a:gdLst>
                <a:gd name="T0" fmla="*/ 565 w 1129"/>
                <a:gd name="T1" fmla="*/ 0 h 1129"/>
                <a:gd name="T2" fmla="*/ 0 w 1129"/>
                <a:gd name="T3" fmla="*/ 565 h 1129"/>
                <a:gd name="T4" fmla="*/ 565 w 1129"/>
                <a:gd name="T5" fmla="*/ 1129 h 1129"/>
                <a:gd name="T6" fmla="*/ 1129 w 1129"/>
                <a:gd name="T7" fmla="*/ 565 h 1129"/>
                <a:gd name="T8" fmla="*/ 565 w 1129"/>
                <a:gd name="T9" fmla="*/ 0 h 1129"/>
                <a:gd name="T10" fmla="*/ 565 w 1129"/>
                <a:gd name="T11" fmla="*/ 1080 h 1129"/>
                <a:gd name="T12" fmla="*/ 49 w 1129"/>
                <a:gd name="T13" fmla="*/ 565 h 1129"/>
                <a:gd name="T14" fmla="*/ 565 w 1129"/>
                <a:gd name="T15" fmla="*/ 49 h 1129"/>
                <a:gd name="T16" fmla="*/ 1080 w 1129"/>
                <a:gd name="T17" fmla="*/ 565 h 1129"/>
                <a:gd name="T18" fmla="*/ 565 w 1129"/>
                <a:gd name="T19" fmla="*/ 108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9" h="1129">
                  <a:moveTo>
                    <a:pt x="565" y="0"/>
                  </a:moveTo>
                  <a:cubicBezTo>
                    <a:pt x="253" y="0"/>
                    <a:pt x="0" y="253"/>
                    <a:pt x="0" y="565"/>
                  </a:cubicBezTo>
                  <a:cubicBezTo>
                    <a:pt x="0" y="876"/>
                    <a:pt x="253" y="1129"/>
                    <a:pt x="565" y="1129"/>
                  </a:cubicBezTo>
                  <a:cubicBezTo>
                    <a:pt x="876" y="1129"/>
                    <a:pt x="1129" y="876"/>
                    <a:pt x="1129" y="565"/>
                  </a:cubicBezTo>
                  <a:cubicBezTo>
                    <a:pt x="1129" y="253"/>
                    <a:pt x="876" y="0"/>
                    <a:pt x="565" y="0"/>
                  </a:cubicBezTo>
                  <a:close/>
                  <a:moveTo>
                    <a:pt x="565" y="1080"/>
                  </a:moveTo>
                  <a:cubicBezTo>
                    <a:pt x="280" y="1080"/>
                    <a:pt x="49" y="849"/>
                    <a:pt x="49" y="565"/>
                  </a:cubicBezTo>
                  <a:cubicBezTo>
                    <a:pt x="49" y="280"/>
                    <a:pt x="280" y="49"/>
                    <a:pt x="565" y="49"/>
                  </a:cubicBezTo>
                  <a:cubicBezTo>
                    <a:pt x="849" y="49"/>
                    <a:pt x="1080" y="280"/>
                    <a:pt x="1080" y="565"/>
                  </a:cubicBezTo>
                  <a:cubicBezTo>
                    <a:pt x="1080" y="849"/>
                    <a:pt x="849" y="1080"/>
                    <a:pt x="565" y="10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sp>
          <p:nvSpPr>
            <p:cNvPr id="50" name="Freeform 31">
              <a:extLst>
                <a:ext uri="{FF2B5EF4-FFF2-40B4-BE49-F238E27FC236}">
                  <a16:creationId xmlns:a16="http://schemas.microsoft.com/office/drawing/2014/main" id="{FE9F5687-155B-4D9E-9557-D0C9A8B4464E}"/>
                </a:ext>
              </a:extLst>
            </p:cNvPr>
            <p:cNvSpPr>
              <a:spLocks noEditPoints="1"/>
            </p:cNvSpPr>
            <p:nvPr/>
          </p:nvSpPr>
          <p:spPr bwMode="auto">
            <a:xfrm>
              <a:off x="-4284663" y="1254125"/>
              <a:ext cx="3687763" cy="3686175"/>
            </a:xfrm>
            <a:custGeom>
              <a:avLst/>
              <a:gdLst>
                <a:gd name="T0" fmla="*/ 455 w 983"/>
                <a:gd name="T1" fmla="*/ 791 h 983"/>
                <a:gd name="T2" fmla="*/ 875 w 983"/>
                <a:gd name="T3" fmla="*/ 799 h 983"/>
                <a:gd name="T4" fmla="*/ 492 w 983"/>
                <a:gd name="T5" fmla="*/ 0 h 983"/>
                <a:gd name="T6" fmla="*/ 492 w 983"/>
                <a:gd name="T7" fmla="*/ 983 h 983"/>
                <a:gd name="T8" fmla="*/ 456 w 983"/>
                <a:gd name="T9" fmla="*/ 802 h 983"/>
                <a:gd name="T10" fmla="*/ 875 w 983"/>
                <a:gd name="T11" fmla="*/ 291 h 983"/>
                <a:gd name="T12" fmla="*/ 781 w 983"/>
                <a:gd name="T13" fmla="*/ 779 h 983"/>
                <a:gd name="T14" fmla="*/ 668 w 983"/>
                <a:gd name="T15" fmla="*/ 390 h 983"/>
                <a:gd name="T16" fmla="*/ 762 w 983"/>
                <a:gd name="T17" fmla="*/ 779 h 983"/>
                <a:gd name="T18" fmla="*/ 668 w 983"/>
                <a:gd name="T19" fmla="*/ 390 h 983"/>
                <a:gd name="T20" fmla="*/ 649 w 983"/>
                <a:gd name="T21" fmla="*/ 497 h 983"/>
                <a:gd name="T22" fmla="*/ 555 w 983"/>
                <a:gd name="T23" fmla="*/ 779 h 983"/>
                <a:gd name="T24" fmla="*/ 442 w 983"/>
                <a:gd name="T25" fmla="*/ 573 h 983"/>
                <a:gd name="T26" fmla="*/ 536 w 983"/>
                <a:gd name="T27" fmla="*/ 779 h 983"/>
                <a:gd name="T28" fmla="*/ 474 w 983"/>
                <a:gd name="T29" fmla="*/ 744 h 983"/>
                <a:gd name="T30" fmla="*/ 466 w 983"/>
                <a:gd name="T31" fmla="*/ 682 h 983"/>
                <a:gd name="T32" fmla="*/ 442 w 983"/>
                <a:gd name="T33" fmla="*/ 573 h 983"/>
                <a:gd name="T34" fmla="*/ 262 w 983"/>
                <a:gd name="T35" fmla="*/ 298 h 983"/>
                <a:gd name="T36" fmla="*/ 300 w 983"/>
                <a:gd name="T37" fmla="*/ 318 h 983"/>
                <a:gd name="T38" fmla="*/ 371 w 983"/>
                <a:gd name="T39" fmla="*/ 341 h 983"/>
                <a:gd name="T40" fmla="*/ 381 w 983"/>
                <a:gd name="T41" fmla="*/ 444 h 983"/>
                <a:gd name="T42" fmla="*/ 393 w 983"/>
                <a:gd name="T43" fmla="*/ 463 h 983"/>
                <a:gd name="T44" fmla="*/ 366 w 983"/>
                <a:gd name="T45" fmla="*/ 515 h 983"/>
                <a:gd name="T46" fmla="*/ 182 w 983"/>
                <a:gd name="T47" fmla="*/ 515 h 983"/>
                <a:gd name="T48" fmla="*/ 154 w 983"/>
                <a:gd name="T49" fmla="*/ 463 h 983"/>
                <a:gd name="T50" fmla="*/ 167 w 983"/>
                <a:gd name="T51" fmla="*/ 444 h 983"/>
                <a:gd name="T52" fmla="*/ 177 w 983"/>
                <a:gd name="T53" fmla="*/ 341 h 983"/>
                <a:gd name="T54" fmla="*/ 269 w 983"/>
                <a:gd name="T55" fmla="*/ 630 h 983"/>
                <a:gd name="T56" fmla="*/ 293 w 983"/>
                <a:gd name="T57" fmla="*/ 627 h 983"/>
                <a:gd name="T58" fmla="*/ 262 w 983"/>
                <a:gd name="T59" fmla="*/ 629 h 983"/>
                <a:gd name="T60" fmla="*/ 265 w 983"/>
                <a:gd name="T61" fmla="*/ 677 h 983"/>
                <a:gd name="T62" fmla="*/ 204 w 983"/>
                <a:gd name="T63" fmla="*/ 592 h 983"/>
                <a:gd name="T64" fmla="*/ 241 w 983"/>
                <a:gd name="T65" fmla="*/ 619 h 983"/>
                <a:gd name="T66" fmla="*/ 314 w 983"/>
                <a:gd name="T67" fmla="*/ 619 h 983"/>
                <a:gd name="T68" fmla="*/ 345 w 983"/>
                <a:gd name="T69" fmla="*/ 592 h 983"/>
                <a:gd name="T70" fmla="*/ 290 w 983"/>
                <a:gd name="T71" fmla="*/ 677 h 983"/>
                <a:gd name="T72" fmla="*/ 314 w 983"/>
                <a:gd name="T73" fmla="*/ 619 h 983"/>
                <a:gd name="T74" fmla="*/ 123 w 983"/>
                <a:gd name="T75" fmla="*/ 792 h 983"/>
                <a:gd name="T76" fmla="*/ 139 w 983"/>
                <a:gd name="T77" fmla="*/ 757 h 983"/>
                <a:gd name="T78" fmla="*/ 109 w 983"/>
                <a:gd name="T79" fmla="*/ 774 h 983"/>
                <a:gd name="T80" fmla="*/ 157 w 983"/>
                <a:gd name="T81" fmla="*/ 649 h 983"/>
                <a:gd name="T82" fmla="*/ 261 w 983"/>
                <a:gd name="T83" fmla="*/ 693 h 983"/>
                <a:gd name="T84" fmla="*/ 141 w 983"/>
                <a:gd name="T85" fmla="*/ 813 h 983"/>
                <a:gd name="T86" fmla="*/ 277 w 983"/>
                <a:gd name="T87" fmla="*/ 680 h 983"/>
                <a:gd name="T88" fmla="*/ 257 w 983"/>
                <a:gd name="T89" fmla="*/ 813 h 983"/>
                <a:gd name="T90" fmla="*/ 294 w 983"/>
                <a:gd name="T91" fmla="*/ 693 h 983"/>
                <a:gd name="T92" fmla="*/ 392 w 983"/>
                <a:gd name="T93" fmla="*/ 649 h 983"/>
                <a:gd name="T94" fmla="*/ 447 w 983"/>
                <a:gd name="T95" fmla="*/ 782 h 983"/>
                <a:gd name="T96" fmla="*/ 314 w 983"/>
                <a:gd name="T97" fmla="*/ 813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983">
                  <a:moveTo>
                    <a:pt x="456" y="802"/>
                  </a:moveTo>
                  <a:cubicBezTo>
                    <a:pt x="455" y="791"/>
                    <a:pt x="455" y="791"/>
                    <a:pt x="455" y="791"/>
                  </a:cubicBezTo>
                  <a:cubicBezTo>
                    <a:pt x="875" y="791"/>
                    <a:pt x="875" y="791"/>
                    <a:pt x="875" y="791"/>
                  </a:cubicBezTo>
                  <a:cubicBezTo>
                    <a:pt x="875" y="799"/>
                    <a:pt x="875" y="799"/>
                    <a:pt x="875" y="799"/>
                  </a:cubicBezTo>
                  <a:cubicBezTo>
                    <a:pt x="942" y="715"/>
                    <a:pt x="983" y="608"/>
                    <a:pt x="983" y="492"/>
                  </a:cubicBezTo>
                  <a:cubicBezTo>
                    <a:pt x="983" y="221"/>
                    <a:pt x="763" y="0"/>
                    <a:pt x="492" y="0"/>
                  </a:cubicBezTo>
                  <a:cubicBezTo>
                    <a:pt x="221" y="0"/>
                    <a:pt x="0" y="221"/>
                    <a:pt x="0" y="492"/>
                  </a:cubicBezTo>
                  <a:cubicBezTo>
                    <a:pt x="0" y="763"/>
                    <a:pt x="221" y="983"/>
                    <a:pt x="492" y="983"/>
                  </a:cubicBezTo>
                  <a:cubicBezTo>
                    <a:pt x="645" y="983"/>
                    <a:pt x="783" y="912"/>
                    <a:pt x="873" y="802"/>
                  </a:cubicBezTo>
                  <a:lnTo>
                    <a:pt x="456" y="802"/>
                  </a:lnTo>
                  <a:close/>
                  <a:moveTo>
                    <a:pt x="781" y="291"/>
                  </a:moveTo>
                  <a:cubicBezTo>
                    <a:pt x="875" y="291"/>
                    <a:pt x="875" y="291"/>
                    <a:pt x="875" y="291"/>
                  </a:cubicBezTo>
                  <a:cubicBezTo>
                    <a:pt x="875" y="779"/>
                    <a:pt x="875" y="779"/>
                    <a:pt x="875" y="779"/>
                  </a:cubicBezTo>
                  <a:cubicBezTo>
                    <a:pt x="781" y="779"/>
                    <a:pt x="781" y="779"/>
                    <a:pt x="781" y="779"/>
                  </a:cubicBezTo>
                  <a:lnTo>
                    <a:pt x="781" y="291"/>
                  </a:lnTo>
                  <a:close/>
                  <a:moveTo>
                    <a:pt x="668" y="390"/>
                  </a:moveTo>
                  <a:cubicBezTo>
                    <a:pt x="762" y="390"/>
                    <a:pt x="762" y="390"/>
                    <a:pt x="762" y="390"/>
                  </a:cubicBezTo>
                  <a:cubicBezTo>
                    <a:pt x="762" y="779"/>
                    <a:pt x="762" y="779"/>
                    <a:pt x="762" y="779"/>
                  </a:cubicBezTo>
                  <a:cubicBezTo>
                    <a:pt x="668" y="779"/>
                    <a:pt x="668" y="779"/>
                    <a:pt x="668" y="779"/>
                  </a:cubicBezTo>
                  <a:lnTo>
                    <a:pt x="668" y="390"/>
                  </a:lnTo>
                  <a:close/>
                  <a:moveTo>
                    <a:pt x="555" y="497"/>
                  </a:moveTo>
                  <a:cubicBezTo>
                    <a:pt x="649" y="497"/>
                    <a:pt x="649" y="497"/>
                    <a:pt x="649" y="497"/>
                  </a:cubicBezTo>
                  <a:cubicBezTo>
                    <a:pt x="649" y="779"/>
                    <a:pt x="649" y="779"/>
                    <a:pt x="649" y="779"/>
                  </a:cubicBezTo>
                  <a:cubicBezTo>
                    <a:pt x="555" y="779"/>
                    <a:pt x="555" y="779"/>
                    <a:pt x="555" y="779"/>
                  </a:cubicBezTo>
                  <a:lnTo>
                    <a:pt x="555" y="497"/>
                  </a:lnTo>
                  <a:close/>
                  <a:moveTo>
                    <a:pt x="442" y="573"/>
                  </a:moveTo>
                  <a:cubicBezTo>
                    <a:pt x="536" y="573"/>
                    <a:pt x="536" y="573"/>
                    <a:pt x="536" y="573"/>
                  </a:cubicBezTo>
                  <a:cubicBezTo>
                    <a:pt x="536" y="779"/>
                    <a:pt x="536" y="779"/>
                    <a:pt x="536" y="779"/>
                  </a:cubicBezTo>
                  <a:cubicBezTo>
                    <a:pt x="457" y="779"/>
                    <a:pt x="457" y="779"/>
                    <a:pt x="457" y="779"/>
                  </a:cubicBezTo>
                  <a:cubicBezTo>
                    <a:pt x="474" y="744"/>
                    <a:pt x="474" y="744"/>
                    <a:pt x="474" y="744"/>
                  </a:cubicBezTo>
                  <a:cubicBezTo>
                    <a:pt x="475" y="743"/>
                    <a:pt x="475" y="743"/>
                    <a:pt x="475" y="743"/>
                  </a:cubicBezTo>
                  <a:cubicBezTo>
                    <a:pt x="475" y="741"/>
                    <a:pt x="484" y="711"/>
                    <a:pt x="466" y="682"/>
                  </a:cubicBezTo>
                  <a:cubicBezTo>
                    <a:pt x="460" y="673"/>
                    <a:pt x="452" y="665"/>
                    <a:pt x="442" y="658"/>
                  </a:cubicBezTo>
                  <a:lnTo>
                    <a:pt x="442" y="573"/>
                  </a:lnTo>
                  <a:close/>
                  <a:moveTo>
                    <a:pt x="177" y="341"/>
                  </a:moveTo>
                  <a:cubicBezTo>
                    <a:pt x="177" y="341"/>
                    <a:pt x="224" y="297"/>
                    <a:pt x="262" y="298"/>
                  </a:cubicBezTo>
                  <a:cubicBezTo>
                    <a:pt x="262" y="298"/>
                    <a:pt x="286" y="296"/>
                    <a:pt x="289" y="316"/>
                  </a:cubicBezTo>
                  <a:cubicBezTo>
                    <a:pt x="289" y="316"/>
                    <a:pt x="291" y="327"/>
                    <a:pt x="300" y="318"/>
                  </a:cubicBezTo>
                  <a:cubicBezTo>
                    <a:pt x="300" y="318"/>
                    <a:pt x="308" y="307"/>
                    <a:pt x="315" y="308"/>
                  </a:cubicBezTo>
                  <a:cubicBezTo>
                    <a:pt x="315" y="308"/>
                    <a:pt x="333" y="307"/>
                    <a:pt x="371" y="341"/>
                  </a:cubicBezTo>
                  <a:cubicBezTo>
                    <a:pt x="401" y="370"/>
                    <a:pt x="400" y="400"/>
                    <a:pt x="400" y="400"/>
                  </a:cubicBezTo>
                  <a:cubicBezTo>
                    <a:pt x="398" y="429"/>
                    <a:pt x="381" y="444"/>
                    <a:pt x="381" y="444"/>
                  </a:cubicBezTo>
                  <a:cubicBezTo>
                    <a:pt x="378" y="459"/>
                    <a:pt x="378" y="459"/>
                    <a:pt x="378" y="459"/>
                  </a:cubicBezTo>
                  <a:cubicBezTo>
                    <a:pt x="398" y="454"/>
                    <a:pt x="393" y="463"/>
                    <a:pt x="393" y="463"/>
                  </a:cubicBezTo>
                  <a:cubicBezTo>
                    <a:pt x="392" y="476"/>
                    <a:pt x="374" y="513"/>
                    <a:pt x="374" y="513"/>
                  </a:cubicBezTo>
                  <a:cubicBezTo>
                    <a:pt x="370" y="518"/>
                    <a:pt x="366" y="515"/>
                    <a:pt x="366" y="515"/>
                  </a:cubicBezTo>
                  <a:cubicBezTo>
                    <a:pt x="366" y="515"/>
                    <a:pt x="354" y="595"/>
                    <a:pt x="274" y="611"/>
                  </a:cubicBezTo>
                  <a:cubicBezTo>
                    <a:pt x="194" y="595"/>
                    <a:pt x="182" y="515"/>
                    <a:pt x="182" y="515"/>
                  </a:cubicBezTo>
                  <a:cubicBezTo>
                    <a:pt x="182" y="515"/>
                    <a:pt x="178" y="518"/>
                    <a:pt x="174" y="513"/>
                  </a:cubicBezTo>
                  <a:cubicBezTo>
                    <a:pt x="174" y="513"/>
                    <a:pt x="156" y="476"/>
                    <a:pt x="154" y="463"/>
                  </a:cubicBezTo>
                  <a:cubicBezTo>
                    <a:pt x="154" y="463"/>
                    <a:pt x="150" y="454"/>
                    <a:pt x="170" y="459"/>
                  </a:cubicBezTo>
                  <a:cubicBezTo>
                    <a:pt x="167" y="444"/>
                    <a:pt x="167" y="444"/>
                    <a:pt x="167" y="444"/>
                  </a:cubicBezTo>
                  <a:cubicBezTo>
                    <a:pt x="167" y="444"/>
                    <a:pt x="149" y="429"/>
                    <a:pt x="147" y="400"/>
                  </a:cubicBezTo>
                  <a:cubicBezTo>
                    <a:pt x="147" y="400"/>
                    <a:pt x="147" y="370"/>
                    <a:pt x="177" y="341"/>
                  </a:cubicBezTo>
                  <a:close/>
                  <a:moveTo>
                    <a:pt x="262" y="629"/>
                  </a:moveTo>
                  <a:cubicBezTo>
                    <a:pt x="264" y="629"/>
                    <a:pt x="266" y="630"/>
                    <a:pt x="269" y="630"/>
                  </a:cubicBezTo>
                  <a:cubicBezTo>
                    <a:pt x="280" y="630"/>
                    <a:pt x="280" y="630"/>
                    <a:pt x="280" y="630"/>
                  </a:cubicBezTo>
                  <a:cubicBezTo>
                    <a:pt x="285" y="630"/>
                    <a:pt x="290" y="628"/>
                    <a:pt x="293" y="627"/>
                  </a:cubicBezTo>
                  <a:cubicBezTo>
                    <a:pt x="288" y="641"/>
                    <a:pt x="282" y="660"/>
                    <a:pt x="277" y="666"/>
                  </a:cubicBezTo>
                  <a:cubicBezTo>
                    <a:pt x="273" y="661"/>
                    <a:pt x="268" y="642"/>
                    <a:pt x="262" y="629"/>
                  </a:cubicBezTo>
                  <a:close/>
                  <a:moveTo>
                    <a:pt x="267" y="671"/>
                  </a:moveTo>
                  <a:cubicBezTo>
                    <a:pt x="266" y="672"/>
                    <a:pt x="266" y="674"/>
                    <a:pt x="265" y="677"/>
                  </a:cubicBezTo>
                  <a:cubicBezTo>
                    <a:pt x="247" y="679"/>
                    <a:pt x="210" y="646"/>
                    <a:pt x="189" y="621"/>
                  </a:cubicBezTo>
                  <a:cubicBezTo>
                    <a:pt x="194" y="614"/>
                    <a:pt x="199" y="604"/>
                    <a:pt x="204" y="592"/>
                  </a:cubicBezTo>
                  <a:cubicBezTo>
                    <a:pt x="241" y="618"/>
                    <a:pt x="241" y="618"/>
                    <a:pt x="241" y="618"/>
                  </a:cubicBezTo>
                  <a:cubicBezTo>
                    <a:pt x="241" y="619"/>
                    <a:pt x="241" y="619"/>
                    <a:pt x="241" y="619"/>
                  </a:cubicBezTo>
                  <a:cubicBezTo>
                    <a:pt x="245" y="629"/>
                    <a:pt x="256" y="657"/>
                    <a:pt x="267" y="671"/>
                  </a:cubicBezTo>
                  <a:close/>
                  <a:moveTo>
                    <a:pt x="314" y="619"/>
                  </a:moveTo>
                  <a:cubicBezTo>
                    <a:pt x="315" y="613"/>
                    <a:pt x="315" y="613"/>
                    <a:pt x="315" y="613"/>
                  </a:cubicBezTo>
                  <a:cubicBezTo>
                    <a:pt x="345" y="592"/>
                    <a:pt x="345" y="592"/>
                    <a:pt x="345" y="592"/>
                  </a:cubicBezTo>
                  <a:cubicBezTo>
                    <a:pt x="350" y="607"/>
                    <a:pt x="357" y="617"/>
                    <a:pt x="362" y="625"/>
                  </a:cubicBezTo>
                  <a:cubicBezTo>
                    <a:pt x="341" y="649"/>
                    <a:pt x="307" y="679"/>
                    <a:pt x="290" y="677"/>
                  </a:cubicBezTo>
                  <a:cubicBezTo>
                    <a:pt x="289" y="674"/>
                    <a:pt x="288" y="672"/>
                    <a:pt x="288" y="671"/>
                  </a:cubicBezTo>
                  <a:cubicBezTo>
                    <a:pt x="299" y="657"/>
                    <a:pt x="310" y="629"/>
                    <a:pt x="314" y="619"/>
                  </a:cubicBezTo>
                  <a:close/>
                  <a:moveTo>
                    <a:pt x="141" y="813"/>
                  </a:moveTo>
                  <a:cubicBezTo>
                    <a:pt x="135" y="806"/>
                    <a:pt x="129" y="799"/>
                    <a:pt x="123" y="792"/>
                  </a:cubicBezTo>
                  <a:cubicBezTo>
                    <a:pt x="125" y="784"/>
                    <a:pt x="128" y="776"/>
                    <a:pt x="133" y="768"/>
                  </a:cubicBezTo>
                  <a:cubicBezTo>
                    <a:pt x="139" y="757"/>
                    <a:pt x="139" y="757"/>
                    <a:pt x="139" y="757"/>
                  </a:cubicBezTo>
                  <a:cubicBezTo>
                    <a:pt x="139" y="757"/>
                    <a:pt x="149" y="730"/>
                    <a:pt x="126" y="753"/>
                  </a:cubicBezTo>
                  <a:cubicBezTo>
                    <a:pt x="126" y="753"/>
                    <a:pt x="118" y="761"/>
                    <a:pt x="109" y="774"/>
                  </a:cubicBezTo>
                  <a:cubicBezTo>
                    <a:pt x="90" y="748"/>
                    <a:pt x="73" y="719"/>
                    <a:pt x="59" y="689"/>
                  </a:cubicBezTo>
                  <a:cubicBezTo>
                    <a:pt x="73" y="679"/>
                    <a:pt x="104" y="661"/>
                    <a:pt x="157" y="649"/>
                  </a:cubicBezTo>
                  <a:cubicBezTo>
                    <a:pt x="157" y="649"/>
                    <a:pt x="166" y="647"/>
                    <a:pt x="179" y="634"/>
                  </a:cubicBezTo>
                  <a:cubicBezTo>
                    <a:pt x="194" y="651"/>
                    <a:pt x="232" y="690"/>
                    <a:pt x="261" y="693"/>
                  </a:cubicBezTo>
                  <a:cubicBezTo>
                    <a:pt x="251" y="732"/>
                    <a:pt x="243" y="796"/>
                    <a:pt x="241" y="813"/>
                  </a:cubicBezTo>
                  <a:lnTo>
                    <a:pt x="141" y="813"/>
                  </a:lnTo>
                  <a:close/>
                  <a:moveTo>
                    <a:pt x="257" y="813"/>
                  </a:moveTo>
                  <a:cubicBezTo>
                    <a:pt x="262" y="773"/>
                    <a:pt x="270" y="708"/>
                    <a:pt x="277" y="680"/>
                  </a:cubicBezTo>
                  <a:cubicBezTo>
                    <a:pt x="284" y="708"/>
                    <a:pt x="293" y="773"/>
                    <a:pt x="298" y="813"/>
                  </a:cubicBezTo>
                  <a:lnTo>
                    <a:pt x="257" y="813"/>
                  </a:lnTo>
                  <a:close/>
                  <a:moveTo>
                    <a:pt x="314" y="813"/>
                  </a:moveTo>
                  <a:cubicBezTo>
                    <a:pt x="312" y="796"/>
                    <a:pt x="303" y="732"/>
                    <a:pt x="294" y="693"/>
                  </a:cubicBezTo>
                  <a:cubicBezTo>
                    <a:pt x="321" y="690"/>
                    <a:pt x="356" y="656"/>
                    <a:pt x="373" y="637"/>
                  </a:cubicBezTo>
                  <a:cubicBezTo>
                    <a:pt x="384" y="647"/>
                    <a:pt x="392" y="649"/>
                    <a:pt x="392" y="649"/>
                  </a:cubicBezTo>
                  <a:cubicBezTo>
                    <a:pt x="489" y="666"/>
                    <a:pt x="467" y="741"/>
                    <a:pt x="467" y="741"/>
                  </a:cubicBezTo>
                  <a:cubicBezTo>
                    <a:pt x="447" y="782"/>
                    <a:pt x="447" y="782"/>
                    <a:pt x="447" y="782"/>
                  </a:cubicBezTo>
                  <a:cubicBezTo>
                    <a:pt x="450" y="813"/>
                    <a:pt x="450" y="813"/>
                    <a:pt x="450" y="813"/>
                  </a:cubicBezTo>
                  <a:lnTo>
                    <a:pt x="314"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grpSp>
      <p:sp>
        <p:nvSpPr>
          <p:cNvPr id="51" name="Right Arrow 31">
            <a:extLst>
              <a:ext uri="{FF2B5EF4-FFF2-40B4-BE49-F238E27FC236}">
                <a16:creationId xmlns:a16="http://schemas.microsoft.com/office/drawing/2014/main" id="{CAE93EBA-1056-4041-9769-EE8F08FA3C35}"/>
              </a:ext>
            </a:extLst>
          </p:cNvPr>
          <p:cNvSpPr/>
          <p:nvPr/>
        </p:nvSpPr>
        <p:spPr>
          <a:xfrm rot="1354991">
            <a:off x="1531709" y="2462515"/>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2" name="Right Arrow 32">
            <a:extLst>
              <a:ext uri="{FF2B5EF4-FFF2-40B4-BE49-F238E27FC236}">
                <a16:creationId xmlns:a16="http://schemas.microsoft.com/office/drawing/2014/main" id="{2F011F24-211F-47E6-8565-809FB17D5244}"/>
              </a:ext>
            </a:extLst>
          </p:cNvPr>
          <p:cNvSpPr/>
          <p:nvPr/>
        </p:nvSpPr>
        <p:spPr>
          <a:xfrm>
            <a:off x="3114060"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3" name="Right Arrow 33">
            <a:extLst>
              <a:ext uri="{FF2B5EF4-FFF2-40B4-BE49-F238E27FC236}">
                <a16:creationId xmlns:a16="http://schemas.microsoft.com/office/drawing/2014/main" id="{74D0BC73-C823-4ADC-B983-6C84C3BE5D07}"/>
              </a:ext>
            </a:extLst>
          </p:cNvPr>
          <p:cNvSpPr/>
          <p:nvPr/>
        </p:nvSpPr>
        <p:spPr>
          <a:xfrm>
            <a:off x="1496976" y="3130640"/>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4" name="Right Arrow 34">
            <a:extLst>
              <a:ext uri="{FF2B5EF4-FFF2-40B4-BE49-F238E27FC236}">
                <a16:creationId xmlns:a16="http://schemas.microsoft.com/office/drawing/2014/main" id="{7C8E8642-8234-4995-9171-320190F43FF6}"/>
              </a:ext>
            </a:extLst>
          </p:cNvPr>
          <p:cNvSpPr/>
          <p:nvPr/>
        </p:nvSpPr>
        <p:spPr>
          <a:xfrm rot="19751463">
            <a:off x="1532972" y="3893693"/>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5" name="Right Arrow 35">
            <a:extLst>
              <a:ext uri="{FF2B5EF4-FFF2-40B4-BE49-F238E27FC236}">
                <a16:creationId xmlns:a16="http://schemas.microsoft.com/office/drawing/2014/main" id="{06303442-5DB0-4130-98ED-5312C1E6BAED}"/>
              </a:ext>
            </a:extLst>
          </p:cNvPr>
          <p:cNvSpPr/>
          <p:nvPr/>
        </p:nvSpPr>
        <p:spPr>
          <a:xfrm>
            <a:off x="5342591"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pic>
        <p:nvPicPr>
          <p:cNvPr id="59" name="Picture 2">
            <a:extLst>
              <a:ext uri="{FF2B5EF4-FFF2-40B4-BE49-F238E27FC236}">
                <a16:creationId xmlns:a16="http://schemas.microsoft.com/office/drawing/2014/main" id="{3E8629F3-60D3-4474-9D98-12BB7764826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8031" y="3250731"/>
            <a:ext cx="1300579" cy="115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Box 60">
            <a:extLst>
              <a:ext uri="{FF2B5EF4-FFF2-40B4-BE49-F238E27FC236}">
                <a16:creationId xmlns:a16="http://schemas.microsoft.com/office/drawing/2014/main" id="{713E345A-CD6F-4C61-8FD5-B3EE345739FB}"/>
              </a:ext>
            </a:extLst>
          </p:cNvPr>
          <p:cNvSpPr txBox="1"/>
          <p:nvPr/>
        </p:nvSpPr>
        <p:spPr>
          <a:xfrm>
            <a:off x="314531" y="5429802"/>
            <a:ext cx="2341512"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TP systems</a:t>
            </a:r>
          </a:p>
        </p:txBody>
      </p:sp>
      <p:sp>
        <p:nvSpPr>
          <p:cNvPr id="62" name="TextBox 61">
            <a:extLst>
              <a:ext uri="{FF2B5EF4-FFF2-40B4-BE49-F238E27FC236}">
                <a16:creationId xmlns:a16="http://schemas.microsoft.com/office/drawing/2014/main" id="{046F4202-693A-48D5-B657-852958DEFF5C}"/>
              </a:ext>
            </a:extLst>
          </p:cNvPr>
          <p:cNvSpPr txBox="1"/>
          <p:nvPr/>
        </p:nvSpPr>
        <p:spPr>
          <a:xfrm>
            <a:off x="7789893" y="534712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Reports and dashboards</a:t>
            </a:r>
          </a:p>
        </p:txBody>
      </p:sp>
      <p:sp>
        <p:nvSpPr>
          <p:cNvPr id="63" name="TextBox 62">
            <a:extLst>
              <a:ext uri="{FF2B5EF4-FFF2-40B4-BE49-F238E27FC236}">
                <a16:creationId xmlns:a16="http://schemas.microsoft.com/office/drawing/2014/main" id="{0039D32F-369F-495F-9558-220EB6EE22F5}"/>
              </a:ext>
            </a:extLst>
          </p:cNvPr>
          <p:cNvSpPr txBox="1"/>
          <p:nvPr/>
        </p:nvSpPr>
        <p:spPr>
          <a:xfrm>
            <a:off x="2957554" y="5347129"/>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Warehouse</a:t>
            </a:r>
          </a:p>
        </p:txBody>
      </p:sp>
      <p:sp>
        <p:nvSpPr>
          <p:cNvPr id="64" name="TextBox 63">
            <a:extLst>
              <a:ext uri="{FF2B5EF4-FFF2-40B4-BE49-F238E27FC236}">
                <a16:creationId xmlns:a16="http://schemas.microsoft.com/office/drawing/2014/main" id="{14C50485-C030-4A94-851C-A8896BB47C6B}"/>
              </a:ext>
            </a:extLst>
          </p:cNvPr>
          <p:cNvSpPr txBox="1"/>
          <p:nvPr/>
        </p:nvSpPr>
        <p:spPr>
          <a:xfrm>
            <a:off x="1312453" y="624163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Data Preparation / ETL</a:t>
            </a:r>
          </a:p>
        </p:txBody>
      </p:sp>
      <p:sp>
        <p:nvSpPr>
          <p:cNvPr id="65" name="TextBox 64">
            <a:extLst>
              <a:ext uri="{FF2B5EF4-FFF2-40B4-BE49-F238E27FC236}">
                <a16:creationId xmlns:a16="http://schemas.microsoft.com/office/drawing/2014/main" id="{4EEC267D-E00D-4870-8154-056301CA2B51}"/>
              </a:ext>
            </a:extLst>
          </p:cNvPr>
          <p:cNvSpPr txBox="1"/>
          <p:nvPr/>
        </p:nvSpPr>
        <p:spPr>
          <a:xfrm>
            <a:off x="5395596" y="6240436"/>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AP / Analytics Models</a:t>
            </a:r>
          </a:p>
        </p:txBody>
      </p:sp>
      <p:sp>
        <p:nvSpPr>
          <p:cNvPr id="66" name="TextBox 65">
            <a:extLst>
              <a:ext uri="{FF2B5EF4-FFF2-40B4-BE49-F238E27FC236}">
                <a16:creationId xmlns:a16="http://schemas.microsoft.com/office/drawing/2014/main" id="{6CA7AE1F-7E8C-4385-BF32-E22D0E0F1CB1}"/>
              </a:ext>
            </a:extLst>
          </p:cNvPr>
          <p:cNvSpPr txBox="1"/>
          <p:nvPr/>
        </p:nvSpPr>
        <p:spPr>
          <a:xfrm>
            <a:off x="2957554" y="5775862"/>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Lake</a:t>
            </a:r>
          </a:p>
        </p:txBody>
      </p:sp>
      <p:pic>
        <p:nvPicPr>
          <p:cNvPr id="70" name="Picture 2" descr="\\SFP\Work\White_Whale\3-22036_Kuleen_Bharadwaj\PPT\3_PlatformVision_Kuleen\SFP_Art\Plane Slide\man_tie.png">
            <a:extLst>
              <a:ext uri="{FF2B5EF4-FFF2-40B4-BE49-F238E27FC236}">
                <a16:creationId xmlns:a16="http://schemas.microsoft.com/office/drawing/2014/main" id="{B55E8488-1162-47FA-BD98-748614250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8366" y="2770850"/>
            <a:ext cx="821481" cy="9649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70DC97E-74A0-4E00-9D04-1776CEE99049}"/>
              </a:ext>
            </a:extLst>
          </p:cNvPr>
          <p:cNvGrpSpPr/>
          <p:nvPr/>
        </p:nvGrpSpPr>
        <p:grpSpPr>
          <a:xfrm>
            <a:off x="4165230" y="3717297"/>
            <a:ext cx="720388" cy="942103"/>
            <a:chOff x="4165230" y="3717297"/>
            <a:chExt cx="720388" cy="942103"/>
          </a:xfrm>
        </p:grpSpPr>
        <p:sp>
          <p:nvSpPr>
            <p:cNvPr id="58" name="Oval 10">
              <a:extLst>
                <a:ext uri="{FF2B5EF4-FFF2-40B4-BE49-F238E27FC236}">
                  <a16:creationId xmlns:a16="http://schemas.microsoft.com/office/drawing/2014/main" id="{C0459F33-EF24-4335-BB30-07F5D4C44D7B}"/>
                </a:ext>
              </a:extLst>
            </p:cNvPr>
            <p:cNvSpPr>
              <a:spLocks noChangeArrowheads="1"/>
            </p:cNvSpPr>
            <p:nvPr/>
          </p:nvSpPr>
          <p:spPr bwMode="auto">
            <a:xfrm>
              <a:off x="4178851" y="3717297"/>
              <a:ext cx="693146" cy="13242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55">
                <a:defRPr/>
              </a:pPr>
              <a:endParaRPr lang="es-MX" sz="1765" dirty="0">
                <a:solidFill>
                  <a:srgbClr val="FFFFFF"/>
                </a:solidFill>
                <a:latin typeface="Segoe UI"/>
              </a:endParaRPr>
            </a:p>
          </p:txBody>
        </p:sp>
        <p:sp>
          <p:nvSpPr>
            <p:cNvPr id="60" name="Forma libre 74">
              <a:extLst>
                <a:ext uri="{FF2B5EF4-FFF2-40B4-BE49-F238E27FC236}">
                  <a16:creationId xmlns:a16="http://schemas.microsoft.com/office/drawing/2014/main" id="{5023DE38-E2AF-43FD-B713-D4F67CFD09DF}"/>
                </a:ext>
              </a:extLst>
            </p:cNvPr>
            <p:cNvSpPr>
              <a:spLocks/>
            </p:cNvSpPr>
            <p:nvPr/>
          </p:nvSpPr>
          <p:spPr bwMode="auto">
            <a:xfrm>
              <a:off x="4165230" y="3807345"/>
              <a:ext cx="720388" cy="237218"/>
            </a:xfrm>
            <a:custGeom>
              <a:avLst/>
              <a:gdLst>
                <a:gd name="connsiteX0" fmla="*/ 0 w 1511300"/>
                <a:gd name="connsiteY0" fmla="*/ 0 h 497660"/>
                <a:gd name="connsiteX1" fmla="*/ 755650 w 1511300"/>
                <a:gd name="connsiteY1" fmla="*/ 171633 h 497660"/>
                <a:gd name="connsiteX2" fmla="*/ 1511300 w 1511300"/>
                <a:gd name="connsiteY2" fmla="*/ 0 h 497660"/>
                <a:gd name="connsiteX3" fmla="*/ 1511300 w 1511300"/>
                <a:gd name="connsiteY3" fmla="*/ 394688 h 497660"/>
                <a:gd name="connsiteX4" fmla="*/ 1511300 w 1511300"/>
                <a:gd name="connsiteY4" fmla="*/ 483307 h 497660"/>
                <a:gd name="connsiteX5" fmla="*/ 1498410 w 1511300"/>
                <a:gd name="connsiteY5" fmla="*/ 488609 h 497660"/>
                <a:gd name="connsiteX6" fmla="*/ 1426688 w 1511300"/>
                <a:gd name="connsiteY6" fmla="*/ 497660 h 497660"/>
                <a:gd name="connsiteX7" fmla="*/ 1260831 w 1511300"/>
                <a:gd name="connsiteY7" fmla="*/ 436563 h 497660"/>
                <a:gd name="connsiteX8" fmla="*/ 1094974 w 1511300"/>
                <a:gd name="connsiteY8" fmla="*/ 497660 h 497660"/>
                <a:gd name="connsiteX9" fmla="*/ 928370 w 1511300"/>
                <a:gd name="connsiteY9" fmla="*/ 436563 h 497660"/>
                <a:gd name="connsiteX10" fmla="*/ 762513 w 1511300"/>
                <a:gd name="connsiteY10" fmla="*/ 497660 h 497660"/>
                <a:gd name="connsiteX11" fmla="*/ 595910 w 1511300"/>
                <a:gd name="connsiteY11" fmla="*/ 436563 h 497660"/>
                <a:gd name="connsiteX12" fmla="*/ 430053 w 1511300"/>
                <a:gd name="connsiteY12" fmla="*/ 497660 h 497660"/>
                <a:gd name="connsiteX13" fmla="*/ 263449 w 1511300"/>
                <a:gd name="connsiteY13" fmla="*/ 436563 h 497660"/>
                <a:gd name="connsiteX14" fmla="*/ 97592 w 1511300"/>
                <a:gd name="connsiteY14" fmla="*/ 497660 h 497660"/>
                <a:gd name="connsiteX15" fmla="*/ 28672 w 1511300"/>
                <a:gd name="connsiteY15" fmla="*/ 489175 h 497660"/>
                <a:gd name="connsiteX16" fmla="*/ 0 w 1511300"/>
                <a:gd name="connsiteY16" fmla="*/ 477872 h 497660"/>
                <a:gd name="connsiteX17" fmla="*/ 0 w 1511300"/>
                <a:gd name="connsiteY17" fmla="*/ 413386 h 497660"/>
                <a:gd name="connsiteX18" fmla="*/ 0 w 1511300"/>
                <a:gd name="connsiteY18" fmla="*/ 0 h 49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497660">
                  <a:moveTo>
                    <a:pt x="0" y="0"/>
                  </a:moveTo>
                  <a:cubicBezTo>
                    <a:pt x="0" y="95185"/>
                    <a:pt x="337838" y="171633"/>
                    <a:pt x="755650" y="171633"/>
                  </a:cubicBezTo>
                  <a:cubicBezTo>
                    <a:pt x="1172715" y="171633"/>
                    <a:pt x="1511300" y="95185"/>
                    <a:pt x="1511300" y="0"/>
                  </a:cubicBezTo>
                  <a:cubicBezTo>
                    <a:pt x="1511300" y="0"/>
                    <a:pt x="1511300" y="0"/>
                    <a:pt x="1511300" y="394688"/>
                  </a:cubicBezTo>
                  <a:lnTo>
                    <a:pt x="1511300" y="483307"/>
                  </a:lnTo>
                  <a:lnTo>
                    <a:pt x="1498410" y="488609"/>
                  </a:lnTo>
                  <a:cubicBezTo>
                    <a:pt x="1476184" y="494454"/>
                    <a:pt x="1452090" y="497660"/>
                    <a:pt x="1426688" y="497660"/>
                  </a:cubicBezTo>
                  <a:cubicBezTo>
                    <a:pt x="1358702" y="497660"/>
                    <a:pt x="1298186" y="473523"/>
                    <a:pt x="1260831" y="436563"/>
                  </a:cubicBezTo>
                  <a:cubicBezTo>
                    <a:pt x="1223476" y="473523"/>
                    <a:pt x="1162961" y="497660"/>
                    <a:pt x="1094974" y="497660"/>
                  </a:cubicBezTo>
                  <a:cubicBezTo>
                    <a:pt x="1026241" y="497660"/>
                    <a:pt x="965725" y="473523"/>
                    <a:pt x="928370" y="436563"/>
                  </a:cubicBezTo>
                  <a:cubicBezTo>
                    <a:pt x="891015" y="473523"/>
                    <a:pt x="830500" y="497660"/>
                    <a:pt x="762513" y="497660"/>
                  </a:cubicBezTo>
                  <a:cubicBezTo>
                    <a:pt x="693780" y="497660"/>
                    <a:pt x="633265" y="473523"/>
                    <a:pt x="595910" y="436563"/>
                  </a:cubicBezTo>
                  <a:cubicBezTo>
                    <a:pt x="558554" y="473523"/>
                    <a:pt x="498039" y="497660"/>
                    <a:pt x="430053" y="497660"/>
                  </a:cubicBezTo>
                  <a:cubicBezTo>
                    <a:pt x="361319" y="497660"/>
                    <a:pt x="300804" y="473523"/>
                    <a:pt x="263449" y="436563"/>
                  </a:cubicBezTo>
                  <a:cubicBezTo>
                    <a:pt x="226094" y="473523"/>
                    <a:pt x="165578" y="497660"/>
                    <a:pt x="97592" y="497660"/>
                  </a:cubicBezTo>
                  <a:cubicBezTo>
                    <a:pt x="73311" y="497660"/>
                    <a:pt x="50151" y="494643"/>
                    <a:pt x="28672" y="489175"/>
                  </a:cubicBezTo>
                  <a:lnTo>
                    <a:pt x="0" y="477872"/>
                  </a:lnTo>
                  <a:lnTo>
                    <a:pt x="0" y="413386"/>
                  </a:lnTo>
                  <a:cubicBezTo>
                    <a:pt x="0" y="288911"/>
                    <a:pt x="0" y="15156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sp>
          <p:nvSpPr>
            <p:cNvPr id="67" name="Forma libre 71">
              <a:extLst>
                <a:ext uri="{FF2B5EF4-FFF2-40B4-BE49-F238E27FC236}">
                  <a16:creationId xmlns:a16="http://schemas.microsoft.com/office/drawing/2014/main" id="{5A87338C-87AC-4D6A-B87A-A0A17677A21C}"/>
                </a:ext>
              </a:extLst>
            </p:cNvPr>
            <p:cNvSpPr>
              <a:spLocks/>
            </p:cNvSpPr>
            <p:nvPr/>
          </p:nvSpPr>
          <p:spPr bwMode="auto">
            <a:xfrm>
              <a:off x="4165230" y="4051394"/>
              <a:ext cx="720388" cy="608006"/>
            </a:xfrm>
            <a:custGeom>
              <a:avLst/>
              <a:gdLst>
                <a:gd name="connsiteX0" fmla="*/ 263449 w 1511300"/>
                <a:gd name="connsiteY0" fmla="*/ 0 h 1275534"/>
                <a:gd name="connsiteX1" fmla="*/ 430053 w 1511300"/>
                <a:gd name="connsiteY1" fmla="*/ 61097 h 1275534"/>
                <a:gd name="connsiteX2" fmla="*/ 595910 w 1511300"/>
                <a:gd name="connsiteY2" fmla="*/ 0 h 1275534"/>
                <a:gd name="connsiteX3" fmla="*/ 762513 w 1511300"/>
                <a:gd name="connsiteY3" fmla="*/ 61097 h 1275534"/>
                <a:gd name="connsiteX4" fmla="*/ 928370 w 1511300"/>
                <a:gd name="connsiteY4" fmla="*/ 0 h 1275534"/>
                <a:gd name="connsiteX5" fmla="*/ 1094974 w 1511300"/>
                <a:gd name="connsiteY5" fmla="*/ 61097 h 1275534"/>
                <a:gd name="connsiteX6" fmla="*/ 1260831 w 1511300"/>
                <a:gd name="connsiteY6" fmla="*/ 0 h 1275534"/>
                <a:gd name="connsiteX7" fmla="*/ 1426688 w 1511300"/>
                <a:gd name="connsiteY7" fmla="*/ 61097 h 1275534"/>
                <a:gd name="connsiteX8" fmla="*/ 1498410 w 1511300"/>
                <a:gd name="connsiteY8" fmla="*/ 51669 h 1275534"/>
                <a:gd name="connsiteX9" fmla="*/ 1511300 w 1511300"/>
                <a:gd name="connsiteY9" fmla="*/ 46287 h 1275534"/>
                <a:gd name="connsiteX10" fmla="*/ 1511300 w 1511300"/>
                <a:gd name="connsiteY10" fmla="*/ 170030 h 1275534"/>
                <a:gd name="connsiteX11" fmla="*/ 1511300 w 1511300"/>
                <a:gd name="connsiteY11" fmla="*/ 1104651 h 1275534"/>
                <a:gd name="connsiteX12" fmla="*/ 755650 w 1511300"/>
                <a:gd name="connsiteY12" fmla="*/ 1275534 h 1275534"/>
                <a:gd name="connsiteX13" fmla="*/ 0 w 1511300"/>
                <a:gd name="connsiteY13" fmla="*/ 1104651 h 1275534"/>
                <a:gd name="connsiteX14" fmla="*/ 0 w 1511300"/>
                <a:gd name="connsiteY14" fmla="*/ 133571 h 1275534"/>
                <a:gd name="connsiteX15" fmla="*/ 0 w 1511300"/>
                <a:gd name="connsiteY15" fmla="*/ 40893 h 1275534"/>
                <a:gd name="connsiteX16" fmla="*/ 28672 w 1511300"/>
                <a:gd name="connsiteY16" fmla="*/ 52517 h 1275534"/>
                <a:gd name="connsiteX17" fmla="*/ 97592 w 1511300"/>
                <a:gd name="connsiteY17" fmla="*/ 61097 h 1275534"/>
                <a:gd name="connsiteX18" fmla="*/ 263449 w 1511300"/>
                <a:gd name="connsiteY18" fmla="*/ 0 h 127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1275534">
                  <a:moveTo>
                    <a:pt x="263449" y="0"/>
                  </a:moveTo>
                  <a:cubicBezTo>
                    <a:pt x="300804" y="36960"/>
                    <a:pt x="361319" y="61097"/>
                    <a:pt x="430053" y="61097"/>
                  </a:cubicBezTo>
                  <a:cubicBezTo>
                    <a:pt x="498039" y="61097"/>
                    <a:pt x="558554" y="36960"/>
                    <a:pt x="595910" y="0"/>
                  </a:cubicBezTo>
                  <a:cubicBezTo>
                    <a:pt x="633265" y="36960"/>
                    <a:pt x="693780" y="61097"/>
                    <a:pt x="762513" y="61097"/>
                  </a:cubicBezTo>
                  <a:cubicBezTo>
                    <a:pt x="830500" y="61097"/>
                    <a:pt x="891015" y="36960"/>
                    <a:pt x="928370" y="0"/>
                  </a:cubicBezTo>
                  <a:cubicBezTo>
                    <a:pt x="965725" y="36960"/>
                    <a:pt x="1026241" y="61097"/>
                    <a:pt x="1094974" y="61097"/>
                  </a:cubicBezTo>
                  <a:cubicBezTo>
                    <a:pt x="1162961" y="61097"/>
                    <a:pt x="1223476" y="36960"/>
                    <a:pt x="1260831" y="0"/>
                  </a:cubicBezTo>
                  <a:cubicBezTo>
                    <a:pt x="1298186" y="36960"/>
                    <a:pt x="1358702" y="61097"/>
                    <a:pt x="1426688" y="61097"/>
                  </a:cubicBezTo>
                  <a:cubicBezTo>
                    <a:pt x="1452090" y="61097"/>
                    <a:pt x="1476184" y="57703"/>
                    <a:pt x="1498410" y="51669"/>
                  </a:cubicBezTo>
                  <a:lnTo>
                    <a:pt x="1511300" y="46287"/>
                  </a:lnTo>
                  <a:lnTo>
                    <a:pt x="1511300" y="170030"/>
                  </a:lnTo>
                  <a:cubicBezTo>
                    <a:pt x="1511300" y="397370"/>
                    <a:pt x="1511300" y="700491"/>
                    <a:pt x="1511300" y="1104651"/>
                  </a:cubicBezTo>
                  <a:cubicBezTo>
                    <a:pt x="1511300" y="1199087"/>
                    <a:pt x="1172715" y="1275534"/>
                    <a:pt x="755650" y="1275534"/>
                  </a:cubicBezTo>
                  <a:cubicBezTo>
                    <a:pt x="337838" y="1275534"/>
                    <a:pt x="0" y="1199087"/>
                    <a:pt x="0" y="1104651"/>
                  </a:cubicBezTo>
                  <a:cubicBezTo>
                    <a:pt x="0" y="1104651"/>
                    <a:pt x="0" y="1104651"/>
                    <a:pt x="0" y="133571"/>
                  </a:cubicBezTo>
                  <a:lnTo>
                    <a:pt x="0" y="40893"/>
                  </a:lnTo>
                  <a:lnTo>
                    <a:pt x="28672" y="52517"/>
                  </a:lnTo>
                  <a:cubicBezTo>
                    <a:pt x="50151" y="58080"/>
                    <a:pt x="73311" y="61097"/>
                    <a:pt x="97592" y="61097"/>
                  </a:cubicBezTo>
                  <a:cubicBezTo>
                    <a:pt x="165578" y="61097"/>
                    <a:pt x="226094" y="36960"/>
                    <a:pt x="263449" y="0"/>
                  </a:cubicBezTo>
                  <a:close/>
                </a:path>
              </a:pathLst>
            </a:custGeom>
            <a:solidFill>
              <a:srgbClr val="00B0F0"/>
            </a:solidFill>
            <a:ln>
              <a:noFill/>
            </a:ln>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grpSp>
      <p:sp>
        <p:nvSpPr>
          <p:cNvPr id="2" name="Title 1">
            <a:extLst>
              <a:ext uri="{FF2B5EF4-FFF2-40B4-BE49-F238E27FC236}">
                <a16:creationId xmlns:a16="http://schemas.microsoft.com/office/drawing/2014/main" id="{12E3B27B-3CF0-40BC-9E5B-7849AB29E539}"/>
              </a:ext>
            </a:extLst>
          </p:cNvPr>
          <p:cNvSpPr>
            <a:spLocks noGrp="1"/>
          </p:cNvSpPr>
          <p:nvPr>
            <p:ph type="title"/>
          </p:nvPr>
        </p:nvSpPr>
        <p:spPr>
          <a:xfrm>
            <a:off x="588348" y="457246"/>
            <a:ext cx="11018351" cy="553990"/>
          </a:xfrm>
        </p:spPr>
        <p:txBody>
          <a:bodyPr>
            <a:noAutofit/>
          </a:bodyPr>
          <a:lstStyle/>
          <a:p>
            <a:r>
              <a:rPr lang="en-US" sz="4200" dirty="0"/>
              <a:t>A brief history of business intelligence</a:t>
            </a:r>
          </a:p>
        </p:txBody>
      </p:sp>
      <p:sp>
        <p:nvSpPr>
          <p:cNvPr id="69" name="Rectangle 68">
            <a:extLst>
              <a:ext uri="{FF2B5EF4-FFF2-40B4-BE49-F238E27FC236}">
                <a16:creationId xmlns:a16="http://schemas.microsoft.com/office/drawing/2014/main" id="{0BBEEE17-3CBE-4F44-ADA9-F1BA3C1C4EB7}"/>
              </a:ext>
            </a:extLst>
          </p:cNvPr>
          <p:cNvSpPr/>
          <p:nvPr/>
        </p:nvSpPr>
        <p:spPr bwMode="auto">
          <a:xfrm>
            <a:off x="6001606" y="1606131"/>
            <a:ext cx="3827499" cy="3221469"/>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61"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3F991584-B4F7-4C08-A7E5-1ED57571FB1A}"/>
              </a:ext>
            </a:extLst>
          </p:cNvPr>
          <p:cNvSpPr txBox="1"/>
          <p:nvPr/>
        </p:nvSpPr>
        <p:spPr>
          <a:xfrm>
            <a:off x="6115303" y="1733393"/>
            <a:ext cx="2442913" cy="430887"/>
          </a:xfrm>
          <a:prstGeom prst="rect">
            <a:avLst/>
          </a:prstGeom>
          <a:noFill/>
        </p:spPr>
        <p:txBody>
          <a:bodyPr wrap="none" lIns="0" tIns="0" rIns="0" bIns="0" rtlCol="0">
            <a:spAutoFit/>
          </a:bodyPr>
          <a:lstStyle/>
          <a:p>
            <a:pPr defTabSz="914355">
              <a:defRPr/>
            </a:pPr>
            <a:r>
              <a:rPr lang="en-US" sz="2800" b="1" dirty="0">
                <a:solidFill>
                  <a:srgbClr val="FFC000"/>
                </a:solidFill>
                <a:latin typeface="Segoe UI"/>
              </a:rPr>
              <a:t>Self-Service BI</a:t>
            </a:r>
          </a:p>
        </p:txBody>
      </p:sp>
    </p:spTree>
    <p:extLst>
      <p:ext uri="{BB962C8B-B14F-4D97-AF65-F5344CB8AC3E}">
        <p14:creationId xmlns:p14="http://schemas.microsoft.com/office/powerpoint/2010/main" val="591100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500"/>
                                        <p:tgtEl>
                                          <p:spTgt spid="46"/>
                                        </p:tgtEl>
                                      </p:cBhvr>
                                    </p:animEffect>
                                  </p:childTnLst>
                                </p:cTn>
                              </p:par>
                            </p:childTnLst>
                          </p:cTn>
                        </p:par>
                        <p:par>
                          <p:cTn id="42" fill="hold">
                            <p:stCondLst>
                              <p:cond delay="500"/>
                            </p:stCondLst>
                            <p:childTnLst>
                              <p:par>
                                <p:cTn id="43" presetID="1" presetClass="entr" presetSubtype="0" fill="hold" grpId="0" nodeType="afterEffect">
                                  <p:stCondLst>
                                    <p:cond delay="0"/>
                                  </p:stCondLst>
                                  <p:childTnLst>
                                    <p:set>
                                      <p:cBhvr>
                                        <p:cTn id="44" dur="1" fill="hold">
                                          <p:stCondLst>
                                            <p:cond delay="0"/>
                                          </p:stCondLst>
                                        </p:cTn>
                                        <p:tgtEl>
                                          <p:spTgt spid="6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6"/>
                                        </p:tgtEl>
                                        <p:attrNameLst>
                                          <p:attrName>style.visibility</p:attrName>
                                        </p:attrNameLst>
                                      </p:cBhvr>
                                      <p:to>
                                        <p:strVal val="visible"/>
                                      </p:to>
                                    </p:set>
                                  </p:childTnLst>
                                </p:cTn>
                              </p:par>
                              <p:par>
                                <p:cTn id="49" presetID="10" presetClass="entr" presetSubtype="0" fill="hold" nodeType="with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4"/>
                                        </p:tgtEl>
                                        <p:attrNameLst>
                                          <p:attrName>style.visibility</p:attrName>
                                        </p:attrNameLst>
                                      </p:cBhvr>
                                      <p:to>
                                        <p:strVal val="visible"/>
                                      </p:to>
                                    </p:set>
                                    <p:animEffect transition="in" filter="fade">
                                      <p:cBhvr>
                                        <p:cTn id="60" dur="500"/>
                                        <p:tgtEl>
                                          <p:spTgt spid="54"/>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3"/>
                                        </p:tgtEl>
                                        <p:attrNameLst>
                                          <p:attrName>style.visibility</p:attrName>
                                        </p:attrNameLst>
                                      </p:cBhvr>
                                      <p:to>
                                        <p:strVal val="visible"/>
                                      </p:to>
                                    </p:set>
                                    <p:animEffect transition="in" filter="fade">
                                      <p:cBhvr>
                                        <p:cTn id="63" dur="500"/>
                                        <p:tgtEl>
                                          <p:spTgt spid="5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1"/>
                                        </p:tgtEl>
                                        <p:attrNameLst>
                                          <p:attrName>style.visibility</p:attrName>
                                        </p:attrNameLst>
                                      </p:cBhvr>
                                      <p:to>
                                        <p:strVal val="visible"/>
                                      </p:to>
                                    </p:set>
                                    <p:animEffect transition="in" filter="fade">
                                      <p:cBhvr>
                                        <p:cTn id="66" dur="500"/>
                                        <p:tgtEl>
                                          <p:spTgt spid="5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2"/>
                                        </p:tgtEl>
                                        <p:attrNameLst>
                                          <p:attrName>style.visibility</p:attrName>
                                        </p:attrNameLst>
                                      </p:cBhvr>
                                      <p:to>
                                        <p:strVal val="visible"/>
                                      </p:to>
                                    </p:set>
                                    <p:animEffect transition="in" filter="fade">
                                      <p:cBhvr>
                                        <p:cTn id="69" dur="500"/>
                                        <p:tgtEl>
                                          <p:spTgt spid="52"/>
                                        </p:tgtEl>
                                      </p:cBhvr>
                                    </p:animEffect>
                                  </p:childTnLst>
                                </p:cTn>
                              </p:par>
                            </p:childTnLst>
                          </p:cTn>
                        </p:par>
                        <p:par>
                          <p:cTn id="70" fill="hold">
                            <p:stCondLst>
                              <p:cond delay="1000"/>
                            </p:stCondLst>
                            <p:childTnLst>
                              <p:par>
                                <p:cTn id="71" presetID="1" presetClass="entr" presetSubtype="0" fill="hold" grpId="0" nodeType="afterEffect">
                                  <p:stCondLst>
                                    <p:cond delay="0"/>
                                  </p:stCondLst>
                                  <p:childTnLst>
                                    <p:set>
                                      <p:cBhvr>
                                        <p:cTn id="72" dur="1" fill="hold">
                                          <p:stCondLst>
                                            <p:cond delay="0"/>
                                          </p:stCondLst>
                                        </p:cTn>
                                        <p:tgtEl>
                                          <p:spTgt spid="64"/>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childTnLst>
                          </p:cTn>
                        </p:par>
                        <p:par>
                          <p:cTn id="83" fill="hold">
                            <p:stCondLst>
                              <p:cond delay="500"/>
                            </p:stCondLst>
                            <p:childTnLst>
                              <p:par>
                                <p:cTn id="84" presetID="10" presetClass="entr" presetSubtype="0" fill="hold" grpId="0" nodeType="afterEffect">
                                  <p:stCondLst>
                                    <p:cond delay="0"/>
                                  </p:stCondLst>
                                  <p:childTnLst>
                                    <p:set>
                                      <p:cBhvr>
                                        <p:cTn id="85" dur="1" fill="hold">
                                          <p:stCondLst>
                                            <p:cond delay="0"/>
                                          </p:stCondLst>
                                        </p:cTn>
                                        <p:tgtEl>
                                          <p:spTgt spid="55"/>
                                        </p:tgtEl>
                                        <p:attrNameLst>
                                          <p:attrName>style.visibility</p:attrName>
                                        </p:attrNameLst>
                                      </p:cBhvr>
                                      <p:to>
                                        <p:strVal val="visible"/>
                                      </p:to>
                                    </p:set>
                                    <p:animEffect transition="in" filter="fade">
                                      <p:cBhvr>
                                        <p:cTn id="86" dur="500"/>
                                        <p:tgtEl>
                                          <p:spTgt spid="55"/>
                                        </p:tgtEl>
                                      </p:cBhvr>
                                    </p:animEffect>
                                  </p:childTnLst>
                                </p:cTn>
                              </p:par>
                            </p:childTnLst>
                          </p:cTn>
                        </p:par>
                        <p:par>
                          <p:cTn id="87" fill="hold">
                            <p:stCondLst>
                              <p:cond delay="1000"/>
                            </p:stCondLst>
                            <p:childTnLst>
                              <p:par>
                                <p:cTn id="88" presetID="1" presetClass="entr" presetSubtype="0" fill="hold" grpId="0" nodeType="afterEffect">
                                  <p:stCondLst>
                                    <p:cond delay="0"/>
                                  </p:stCondLst>
                                  <p:childTnLst>
                                    <p:set>
                                      <p:cBhvr>
                                        <p:cTn id="89" dur="1" fill="hold">
                                          <p:stCondLst>
                                            <p:cond delay="0"/>
                                          </p:stCondLst>
                                        </p:cTn>
                                        <p:tgtEl>
                                          <p:spTgt spid="65"/>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69"/>
                                        </p:tgtEl>
                                        <p:attrNameLst>
                                          <p:attrName>style.visibility</p:attrName>
                                        </p:attrNameLst>
                                      </p:cBhvr>
                                      <p:to>
                                        <p:strVal val="visible"/>
                                      </p:to>
                                    </p:set>
                                    <p:animEffect transition="in" filter="fade">
                                      <p:cBhvr>
                                        <p:cTn id="94" dur="500"/>
                                        <p:tgtEl>
                                          <p:spTgt spid="69"/>
                                        </p:tgtEl>
                                      </p:cBhvr>
                                    </p:animEffect>
                                  </p:childTnLst>
                                </p:cTn>
                              </p:par>
                              <p:par>
                                <p:cTn id="95" presetID="10" presetClass="entr" presetSubtype="0" fill="hold" nodeType="withEffect">
                                  <p:stCondLst>
                                    <p:cond delay="0"/>
                                  </p:stCondLst>
                                  <p:childTnLst>
                                    <p:set>
                                      <p:cBhvr>
                                        <p:cTn id="96" dur="1" fill="hold">
                                          <p:stCondLst>
                                            <p:cond delay="0"/>
                                          </p:stCondLst>
                                        </p:cTn>
                                        <p:tgtEl>
                                          <p:spTgt spid="3">
                                            <p:txEl>
                                              <p:pRg st="0" end="0"/>
                                            </p:txEl>
                                          </p:spTgt>
                                        </p:tgtEl>
                                        <p:attrNameLst>
                                          <p:attrName>style.visibility</p:attrName>
                                        </p:attrNameLst>
                                      </p:cBhvr>
                                      <p:to>
                                        <p:strVal val="visible"/>
                                      </p:to>
                                    </p:set>
                                    <p:animEffect transition="in" filter="fade">
                                      <p:cBhvr>
                                        <p:cTn id="9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61" grpId="0"/>
      <p:bldP spid="62" grpId="0"/>
      <p:bldP spid="63" grpId="0"/>
      <p:bldP spid="64" grpId="0"/>
      <p:bldP spid="65" grpId="0"/>
      <p:bldP spid="66" grpId="0"/>
      <p:bldP spid="6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01659B65-74F9-4D6F-9EFB-FCD7844B2102}"/>
              </a:ext>
            </a:extLst>
          </p:cNvPr>
          <p:cNvGrpSpPr>
            <a:grpSpLocks noChangeAspect="1"/>
          </p:cNvGrpSpPr>
          <p:nvPr/>
        </p:nvGrpSpPr>
        <p:grpSpPr>
          <a:xfrm>
            <a:off x="10153850" y="2172360"/>
            <a:ext cx="1510741" cy="829805"/>
            <a:chOff x="6640994" y="2863476"/>
            <a:chExt cx="1140953" cy="626692"/>
          </a:xfrm>
        </p:grpSpPr>
        <p:pic>
          <p:nvPicPr>
            <p:cNvPr id="33" name="Picture 4" descr="\\SFP\Work\White_Whale\3-22036_Kuleen_Bharadwaj\PPT\3_PlatformVision_Kuleen\SFP_Art\Plane Slide\woman.png">
              <a:extLst>
                <a:ext uri="{FF2B5EF4-FFF2-40B4-BE49-F238E27FC236}">
                  <a16:creationId xmlns:a16="http://schemas.microsoft.com/office/drawing/2014/main" id="{5847EACF-E1C7-4392-8BB2-F904E0E20E0F}"/>
                </a:ext>
              </a:extLst>
            </p:cNvPr>
            <p:cNvPicPr>
              <a:picLocks noChangeAspect="1" noChangeArrowheads="1"/>
            </p:cNvPicPr>
            <p:nvPr/>
          </p:nvPicPr>
          <p:blipFill>
            <a:blip r:embed="rId3"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962820" y="2863476"/>
              <a:ext cx="472074" cy="54864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SFP\Work\White_Whale\3-22036_Kuleen_Bharadwaj\PPT\3_PlatformVision_Kuleen\SFP_Art\Plane Slide\man_tie.png">
              <a:extLst>
                <a:ext uri="{FF2B5EF4-FFF2-40B4-BE49-F238E27FC236}">
                  <a16:creationId xmlns:a16="http://schemas.microsoft.com/office/drawing/2014/main" id="{2F549635-6394-4957-9EE1-B5C75E20FDB5}"/>
                </a:ext>
              </a:extLst>
            </p:cNvPr>
            <p:cNvPicPr>
              <a:picLocks noChangeAspect="1" noChangeArrowheads="1"/>
            </p:cNvPicPr>
            <p:nvPr/>
          </p:nvPicPr>
          <p:blipFill>
            <a:blip r:embed="rId4"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6640994" y="2914598"/>
              <a:ext cx="467092" cy="54864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SFP\Work\White_Whale\3-22036_Kuleen_Bharadwaj\PPT\3_PlatformVision_Kuleen\SFP_Art\Plane Slide\mon_notie.png">
              <a:extLst>
                <a:ext uri="{FF2B5EF4-FFF2-40B4-BE49-F238E27FC236}">
                  <a16:creationId xmlns:a16="http://schemas.microsoft.com/office/drawing/2014/main" id="{FE79B5AA-92A8-4310-819B-9759B3F81DA4}"/>
                </a:ext>
              </a:extLst>
            </p:cNvPr>
            <p:cNvPicPr>
              <a:picLocks noChangeAspect="1" noChangeArrowheads="1"/>
            </p:cNvPicPr>
            <p:nvPr/>
          </p:nvPicPr>
          <p:blipFill>
            <a:blip r:embed="rId5" cstate="print">
              <a:duotone>
                <a:prstClr val="black"/>
                <a:srgbClr val="2B5377">
                  <a:tint val="45000"/>
                  <a:satMod val="400000"/>
                </a:srgbClr>
              </a:duotone>
              <a:extLst>
                <a:ext uri="{28A0092B-C50C-407E-A947-70E740481C1C}">
                  <a14:useLocalDpi xmlns:a14="http://schemas.microsoft.com/office/drawing/2010/main" val="0"/>
                </a:ext>
              </a:extLst>
            </a:blip>
            <a:srcRect/>
            <a:stretch>
              <a:fillRect/>
            </a:stretch>
          </p:blipFill>
          <p:spPr bwMode="auto">
            <a:xfrm>
              <a:off x="7314255" y="2941528"/>
              <a:ext cx="467692" cy="548640"/>
            </a:xfrm>
            <a:prstGeom prst="rect">
              <a:avLst/>
            </a:prstGeom>
            <a:noFill/>
            <a:extLst>
              <a:ext uri="{909E8E84-426E-40DD-AFC4-6F175D3DCCD1}">
                <a14:hiddenFill xmlns:a14="http://schemas.microsoft.com/office/drawing/2010/main">
                  <a:solidFill>
                    <a:srgbClr val="FFFFFF"/>
                  </a:solidFill>
                </a14:hiddenFill>
              </a:ext>
            </a:extLst>
          </p:spPr>
        </p:pic>
      </p:grpSp>
      <p:pic>
        <p:nvPicPr>
          <p:cNvPr id="36" name="Picture 35" descr="\\MAGNUM\Projects\Microsoft\Cloud Power FY12\Design\ICONS_PNG\Gears.png">
            <a:extLst>
              <a:ext uri="{FF2B5EF4-FFF2-40B4-BE49-F238E27FC236}">
                <a16:creationId xmlns:a16="http://schemas.microsoft.com/office/drawing/2014/main" id="{7A8CB03D-B2AA-4182-A0DF-1C02DEF37190}"/>
              </a:ext>
            </a:extLst>
          </p:cNvPr>
          <p:cNvPicPr>
            <a:picLocks noChangeAspect="1" noChangeArrowheads="1"/>
          </p:cNvPicPr>
          <p:nvPr>
            <p:custDataLst>
              <p:tags r:id="rId1"/>
            </p:custDataLst>
          </p:nvPr>
        </p:nvPicPr>
        <p:blipFill rotWithShape="1">
          <a:blip r:embed="rId6" cstate="print">
            <a:lum bright="100000"/>
          </a:blip>
          <a:srcRect l="11539" t="18856" r="11057" b="19124"/>
          <a:stretch/>
        </p:blipFill>
        <p:spPr bwMode="auto">
          <a:xfrm flipH="1">
            <a:off x="2123474" y="2886373"/>
            <a:ext cx="990585" cy="793697"/>
          </a:xfrm>
          <a:prstGeom prst="rect">
            <a:avLst/>
          </a:prstGeom>
          <a:noFill/>
        </p:spPr>
      </p:pic>
      <p:grpSp>
        <p:nvGrpSpPr>
          <p:cNvPr id="37" name="Group 36">
            <a:extLst>
              <a:ext uri="{FF2B5EF4-FFF2-40B4-BE49-F238E27FC236}">
                <a16:creationId xmlns:a16="http://schemas.microsoft.com/office/drawing/2014/main" id="{A14E527A-1E81-4F86-B5F5-1BEA3DACE819}"/>
              </a:ext>
            </a:extLst>
          </p:cNvPr>
          <p:cNvGrpSpPr>
            <a:grpSpLocks noChangeAspect="1"/>
          </p:cNvGrpSpPr>
          <p:nvPr/>
        </p:nvGrpSpPr>
        <p:grpSpPr>
          <a:xfrm>
            <a:off x="694462" y="1629177"/>
            <a:ext cx="708271" cy="919761"/>
            <a:chOff x="377825" y="1184276"/>
            <a:chExt cx="1020763" cy="1325563"/>
          </a:xfrm>
        </p:grpSpPr>
        <p:sp>
          <p:nvSpPr>
            <p:cNvPr id="38" name="Oval 122">
              <a:extLst>
                <a:ext uri="{FF2B5EF4-FFF2-40B4-BE49-F238E27FC236}">
                  <a16:creationId xmlns:a16="http://schemas.microsoft.com/office/drawing/2014/main" id="{386F2CBA-5AE9-4A05-9D38-E161FFD1F500}"/>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39" name="Freeform 123">
              <a:extLst>
                <a:ext uri="{FF2B5EF4-FFF2-40B4-BE49-F238E27FC236}">
                  <a16:creationId xmlns:a16="http://schemas.microsoft.com/office/drawing/2014/main" id="{136D074A-A4C4-485E-A5B9-9A5C283E7375}"/>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0" name="Group 39">
            <a:extLst>
              <a:ext uri="{FF2B5EF4-FFF2-40B4-BE49-F238E27FC236}">
                <a16:creationId xmlns:a16="http://schemas.microsoft.com/office/drawing/2014/main" id="{BD885EF7-9735-4A23-889D-79369A4FF9EB}"/>
              </a:ext>
            </a:extLst>
          </p:cNvPr>
          <p:cNvGrpSpPr>
            <a:grpSpLocks noChangeAspect="1"/>
          </p:cNvGrpSpPr>
          <p:nvPr/>
        </p:nvGrpSpPr>
        <p:grpSpPr>
          <a:xfrm>
            <a:off x="681208" y="2806352"/>
            <a:ext cx="708271" cy="919761"/>
            <a:chOff x="377825" y="1184276"/>
            <a:chExt cx="1020763" cy="1325563"/>
          </a:xfrm>
        </p:grpSpPr>
        <p:sp>
          <p:nvSpPr>
            <p:cNvPr id="41" name="Oval 122">
              <a:extLst>
                <a:ext uri="{FF2B5EF4-FFF2-40B4-BE49-F238E27FC236}">
                  <a16:creationId xmlns:a16="http://schemas.microsoft.com/office/drawing/2014/main" id="{CD7C228E-25F6-45B4-B8DB-7BB86D5108CB}"/>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2" name="Freeform 123">
              <a:extLst>
                <a:ext uri="{FF2B5EF4-FFF2-40B4-BE49-F238E27FC236}">
                  <a16:creationId xmlns:a16="http://schemas.microsoft.com/office/drawing/2014/main" id="{E0A596A8-C65E-4FC6-AAA3-11A1E07E157E}"/>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grpSp>
        <p:nvGrpSpPr>
          <p:cNvPr id="43" name="Group 42">
            <a:extLst>
              <a:ext uri="{FF2B5EF4-FFF2-40B4-BE49-F238E27FC236}">
                <a16:creationId xmlns:a16="http://schemas.microsoft.com/office/drawing/2014/main" id="{97D1583E-C6B7-4138-A42D-B5B129B8E672}"/>
              </a:ext>
            </a:extLst>
          </p:cNvPr>
          <p:cNvGrpSpPr>
            <a:grpSpLocks noChangeAspect="1"/>
          </p:cNvGrpSpPr>
          <p:nvPr/>
        </p:nvGrpSpPr>
        <p:grpSpPr>
          <a:xfrm>
            <a:off x="693325" y="4072914"/>
            <a:ext cx="708271" cy="919761"/>
            <a:chOff x="377825" y="1184276"/>
            <a:chExt cx="1020763" cy="1325563"/>
          </a:xfrm>
        </p:grpSpPr>
        <p:sp>
          <p:nvSpPr>
            <p:cNvPr id="44" name="Oval 122">
              <a:extLst>
                <a:ext uri="{FF2B5EF4-FFF2-40B4-BE49-F238E27FC236}">
                  <a16:creationId xmlns:a16="http://schemas.microsoft.com/office/drawing/2014/main" id="{536EE2A2-625A-4671-ABAD-4B3A4881CB06}"/>
                </a:ext>
              </a:extLst>
            </p:cNvPr>
            <p:cNvSpPr>
              <a:spLocks noChangeArrowheads="1"/>
            </p:cNvSpPr>
            <p:nvPr/>
          </p:nvSpPr>
          <p:spPr bwMode="auto">
            <a:xfrm>
              <a:off x="395288" y="1184276"/>
              <a:ext cx="985838" cy="187325"/>
            </a:xfrm>
            <a:prstGeom prst="ellipse">
              <a:avLst/>
            </a:prstGeom>
            <a:solidFill>
              <a:srgbClr val="EEEC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sp>
          <p:nvSpPr>
            <p:cNvPr id="45" name="Freeform 123">
              <a:extLst>
                <a:ext uri="{FF2B5EF4-FFF2-40B4-BE49-F238E27FC236}">
                  <a16:creationId xmlns:a16="http://schemas.microsoft.com/office/drawing/2014/main" id="{367C82D9-253C-4311-8632-83AD910359F8}"/>
                </a:ext>
              </a:extLst>
            </p:cNvPr>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prstClr val="black"/>
                </a:solidFill>
                <a:latin typeface="Segoe UI"/>
              </a:endParaRPr>
            </a:p>
          </p:txBody>
        </p:sp>
      </p:grpSp>
      <p:pic>
        <p:nvPicPr>
          <p:cNvPr id="46" name="Picture 8">
            <a:extLst>
              <a:ext uri="{FF2B5EF4-FFF2-40B4-BE49-F238E27FC236}">
                <a16:creationId xmlns:a16="http://schemas.microsoft.com/office/drawing/2014/main" id="{35BE67D2-66CB-46D6-834A-421667C6D71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18615" y="2290752"/>
            <a:ext cx="1317611" cy="104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7" descr="\\SFP\Work\White_Whale\3-22036_Kuleen_Bharadwaj\PPT\4_SQL Server Renewal\SFP_Art\Icons\Chris Icons\cube_blue.png">
            <a:extLst>
              <a:ext uri="{FF2B5EF4-FFF2-40B4-BE49-F238E27FC236}">
                <a16:creationId xmlns:a16="http://schemas.microsoft.com/office/drawing/2014/main" id="{44D1EA5D-62C7-4E7F-ACA3-FFC1A13A99ED}"/>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tretch>
            <a:fillRect/>
          </a:stretch>
        </p:blipFill>
        <p:spPr bwMode="auto">
          <a:xfrm>
            <a:off x="6098987" y="2828710"/>
            <a:ext cx="1322598" cy="1184989"/>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E9BB97F0-7FEF-4064-9734-873801418C62}"/>
              </a:ext>
            </a:extLst>
          </p:cNvPr>
          <p:cNvGrpSpPr/>
          <p:nvPr/>
        </p:nvGrpSpPr>
        <p:grpSpPr>
          <a:xfrm>
            <a:off x="8504627" y="1953848"/>
            <a:ext cx="851803" cy="942828"/>
            <a:chOff x="-4557713" y="979488"/>
            <a:chExt cx="4233863" cy="4233862"/>
          </a:xfrm>
          <a:solidFill>
            <a:sysClr val="window" lastClr="FFFFFF"/>
          </a:solidFill>
        </p:grpSpPr>
        <p:sp>
          <p:nvSpPr>
            <p:cNvPr id="49" name="Freeform 30">
              <a:extLst>
                <a:ext uri="{FF2B5EF4-FFF2-40B4-BE49-F238E27FC236}">
                  <a16:creationId xmlns:a16="http://schemas.microsoft.com/office/drawing/2014/main" id="{B7468B07-6D2B-4E60-9826-5B66B641A422}"/>
                </a:ext>
              </a:extLst>
            </p:cNvPr>
            <p:cNvSpPr>
              <a:spLocks noEditPoints="1"/>
            </p:cNvSpPr>
            <p:nvPr/>
          </p:nvSpPr>
          <p:spPr bwMode="auto">
            <a:xfrm>
              <a:off x="-4557713" y="979488"/>
              <a:ext cx="4233863" cy="4233862"/>
            </a:xfrm>
            <a:custGeom>
              <a:avLst/>
              <a:gdLst>
                <a:gd name="T0" fmla="*/ 565 w 1129"/>
                <a:gd name="T1" fmla="*/ 0 h 1129"/>
                <a:gd name="T2" fmla="*/ 0 w 1129"/>
                <a:gd name="T3" fmla="*/ 565 h 1129"/>
                <a:gd name="T4" fmla="*/ 565 w 1129"/>
                <a:gd name="T5" fmla="*/ 1129 h 1129"/>
                <a:gd name="T6" fmla="*/ 1129 w 1129"/>
                <a:gd name="T7" fmla="*/ 565 h 1129"/>
                <a:gd name="T8" fmla="*/ 565 w 1129"/>
                <a:gd name="T9" fmla="*/ 0 h 1129"/>
                <a:gd name="T10" fmla="*/ 565 w 1129"/>
                <a:gd name="T11" fmla="*/ 1080 h 1129"/>
                <a:gd name="T12" fmla="*/ 49 w 1129"/>
                <a:gd name="T13" fmla="*/ 565 h 1129"/>
                <a:gd name="T14" fmla="*/ 565 w 1129"/>
                <a:gd name="T15" fmla="*/ 49 h 1129"/>
                <a:gd name="T16" fmla="*/ 1080 w 1129"/>
                <a:gd name="T17" fmla="*/ 565 h 1129"/>
                <a:gd name="T18" fmla="*/ 565 w 1129"/>
                <a:gd name="T19" fmla="*/ 108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9" h="1129">
                  <a:moveTo>
                    <a:pt x="565" y="0"/>
                  </a:moveTo>
                  <a:cubicBezTo>
                    <a:pt x="253" y="0"/>
                    <a:pt x="0" y="253"/>
                    <a:pt x="0" y="565"/>
                  </a:cubicBezTo>
                  <a:cubicBezTo>
                    <a:pt x="0" y="876"/>
                    <a:pt x="253" y="1129"/>
                    <a:pt x="565" y="1129"/>
                  </a:cubicBezTo>
                  <a:cubicBezTo>
                    <a:pt x="876" y="1129"/>
                    <a:pt x="1129" y="876"/>
                    <a:pt x="1129" y="565"/>
                  </a:cubicBezTo>
                  <a:cubicBezTo>
                    <a:pt x="1129" y="253"/>
                    <a:pt x="876" y="0"/>
                    <a:pt x="565" y="0"/>
                  </a:cubicBezTo>
                  <a:close/>
                  <a:moveTo>
                    <a:pt x="565" y="1080"/>
                  </a:moveTo>
                  <a:cubicBezTo>
                    <a:pt x="280" y="1080"/>
                    <a:pt x="49" y="849"/>
                    <a:pt x="49" y="565"/>
                  </a:cubicBezTo>
                  <a:cubicBezTo>
                    <a:pt x="49" y="280"/>
                    <a:pt x="280" y="49"/>
                    <a:pt x="565" y="49"/>
                  </a:cubicBezTo>
                  <a:cubicBezTo>
                    <a:pt x="849" y="49"/>
                    <a:pt x="1080" y="280"/>
                    <a:pt x="1080" y="565"/>
                  </a:cubicBezTo>
                  <a:cubicBezTo>
                    <a:pt x="1080" y="849"/>
                    <a:pt x="849" y="1080"/>
                    <a:pt x="565" y="10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sp>
          <p:nvSpPr>
            <p:cNvPr id="50" name="Freeform 31">
              <a:extLst>
                <a:ext uri="{FF2B5EF4-FFF2-40B4-BE49-F238E27FC236}">
                  <a16:creationId xmlns:a16="http://schemas.microsoft.com/office/drawing/2014/main" id="{FE9F5687-155B-4D9E-9557-D0C9A8B4464E}"/>
                </a:ext>
              </a:extLst>
            </p:cNvPr>
            <p:cNvSpPr>
              <a:spLocks noEditPoints="1"/>
            </p:cNvSpPr>
            <p:nvPr/>
          </p:nvSpPr>
          <p:spPr bwMode="auto">
            <a:xfrm>
              <a:off x="-4284663" y="1254125"/>
              <a:ext cx="3687763" cy="3686175"/>
            </a:xfrm>
            <a:custGeom>
              <a:avLst/>
              <a:gdLst>
                <a:gd name="T0" fmla="*/ 455 w 983"/>
                <a:gd name="T1" fmla="*/ 791 h 983"/>
                <a:gd name="T2" fmla="*/ 875 w 983"/>
                <a:gd name="T3" fmla="*/ 799 h 983"/>
                <a:gd name="T4" fmla="*/ 492 w 983"/>
                <a:gd name="T5" fmla="*/ 0 h 983"/>
                <a:gd name="T6" fmla="*/ 492 w 983"/>
                <a:gd name="T7" fmla="*/ 983 h 983"/>
                <a:gd name="T8" fmla="*/ 456 w 983"/>
                <a:gd name="T9" fmla="*/ 802 h 983"/>
                <a:gd name="T10" fmla="*/ 875 w 983"/>
                <a:gd name="T11" fmla="*/ 291 h 983"/>
                <a:gd name="T12" fmla="*/ 781 w 983"/>
                <a:gd name="T13" fmla="*/ 779 h 983"/>
                <a:gd name="T14" fmla="*/ 668 w 983"/>
                <a:gd name="T15" fmla="*/ 390 h 983"/>
                <a:gd name="T16" fmla="*/ 762 w 983"/>
                <a:gd name="T17" fmla="*/ 779 h 983"/>
                <a:gd name="T18" fmla="*/ 668 w 983"/>
                <a:gd name="T19" fmla="*/ 390 h 983"/>
                <a:gd name="T20" fmla="*/ 649 w 983"/>
                <a:gd name="T21" fmla="*/ 497 h 983"/>
                <a:gd name="T22" fmla="*/ 555 w 983"/>
                <a:gd name="T23" fmla="*/ 779 h 983"/>
                <a:gd name="T24" fmla="*/ 442 w 983"/>
                <a:gd name="T25" fmla="*/ 573 h 983"/>
                <a:gd name="T26" fmla="*/ 536 w 983"/>
                <a:gd name="T27" fmla="*/ 779 h 983"/>
                <a:gd name="T28" fmla="*/ 474 w 983"/>
                <a:gd name="T29" fmla="*/ 744 h 983"/>
                <a:gd name="T30" fmla="*/ 466 w 983"/>
                <a:gd name="T31" fmla="*/ 682 h 983"/>
                <a:gd name="T32" fmla="*/ 442 w 983"/>
                <a:gd name="T33" fmla="*/ 573 h 983"/>
                <a:gd name="T34" fmla="*/ 262 w 983"/>
                <a:gd name="T35" fmla="*/ 298 h 983"/>
                <a:gd name="T36" fmla="*/ 300 w 983"/>
                <a:gd name="T37" fmla="*/ 318 h 983"/>
                <a:gd name="T38" fmla="*/ 371 w 983"/>
                <a:gd name="T39" fmla="*/ 341 h 983"/>
                <a:gd name="T40" fmla="*/ 381 w 983"/>
                <a:gd name="T41" fmla="*/ 444 h 983"/>
                <a:gd name="T42" fmla="*/ 393 w 983"/>
                <a:gd name="T43" fmla="*/ 463 h 983"/>
                <a:gd name="T44" fmla="*/ 366 w 983"/>
                <a:gd name="T45" fmla="*/ 515 h 983"/>
                <a:gd name="T46" fmla="*/ 182 w 983"/>
                <a:gd name="T47" fmla="*/ 515 h 983"/>
                <a:gd name="T48" fmla="*/ 154 w 983"/>
                <a:gd name="T49" fmla="*/ 463 h 983"/>
                <a:gd name="T50" fmla="*/ 167 w 983"/>
                <a:gd name="T51" fmla="*/ 444 h 983"/>
                <a:gd name="T52" fmla="*/ 177 w 983"/>
                <a:gd name="T53" fmla="*/ 341 h 983"/>
                <a:gd name="T54" fmla="*/ 269 w 983"/>
                <a:gd name="T55" fmla="*/ 630 h 983"/>
                <a:gd name="T56" fmla="*/ 293 w 983"/>
                <a:gd name="T57" fmla="*/ 627 h 983"/>
                <a:gd name="T58" fmla="*/ 262 w 983"/>
                <a:gd name="T59" fmla="*/ 629 h 983"/>
                <a:gd name="T60" fmla="*/ 265 w 983"/>
                <a:gd name="T61" fmla="*/ 677 h 983"/>
                <a:gd name="T62" fmla="*/ 204 w 983"/>
                <a:gd name="T63" fmla="*/ 592 h 983"/>
                <a:gd name="T64" fmla="*/ 241 w 983"/>
                <a:gd name="T65" fmla="*/ 619 h 983"/>
                <a:gd name="T66" fmla="*/ 314 w 983"/>
                <a:gd name="T67" fmla="*/ 619 h 983"/>
                <a:gd name="T68" fmla="*/ 345 w 983"/>
                <a:gd name="T69" fmla="*/ 592 h 983"/>
                <a:gd name="T70" fmla="*/ 290 w 983"/>
                <a:gd name="T71" fmla="*/ 677 h 983"/>
                <a:gd name="T72" fmla="*/ 314 w 983"/>
                <a:gd name="T73" fmla="*/ 619 h 983"/>
                <a:gd name="T74" fmla="*/ 123 w 983"/>
                <a:gd name="T75" fmla="*/ 792 h 983"/>
                <a:gd name="T76" fmla="*/ 139 w 983"/>
                <a:gd name="T77" fmla="*/ 757 h 983"/>
                <a:gd name="T78" fmla="*/ 109 w 983"/>
                <a:gd name="T79" fmla="*/ 774 h 983"/>
                <a:gd name="T80" fmla="*/ 157 w 983"/>
                <a:gd name="T81" fmla="*/ 649 h 983"/>
                <a:gd name="T82" fmla="*/ 261 w 983"/>
                <a:gd name="T83" fmla="*/ 693 h 983"/>
                <a:gd name="T84" fmla="*/ 141 w 983"/>
                <a:gd name="T85" fmla="*/ 813 h 983"/>
                <a:gd name="T86" fmla="*/ 277 w 983"/>
                <a:gd name="T87" fmla="*/ 680 h 983"/>
                <a:gd name="T88" fmla="*/ 257 w 983"/>
                <a:gd name="T89" fmla="*/ 813 h 983"/>
                <a:gd name="T90" fmla="*/ 294 w 983"/>
                <a:gd name="T91" fmla="*/ 693 h 983"/>
                <a:gd name="T92" fmla="*/ 392 w 983"/>
                <a:gd name="T93" fmla="*/ 649 h 983"/>
                <a:gd name="T94" fmla="*/ 447 w 983"/>
                <a:gd name="T95" fmla="*/ 782 h 983"/>
                <a:gd name="T96" fmla="*/ 314 w 983"/>
                <a:gd name="T97" fmla="*/ 813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3" h="983">
                  <a:moveTo>
                    <a:pt x="456" y="802"/>
                  </a:moveTo>
                  <a:cubicBezTo>
                    <a:pt x="455" y="791"/>
                    <a:pt x="455" y="791"/>
                    <a:pt x="455" y="791"/>
                  </a:cubicBezTo>
                  <a:cubicBezTo>
                    <a:pt x="875" y="791"/>
                    <a:pt x="875" y="791"/>
                    <a:pt x="875" y="791"/>
                  </a:cubicBezTo>
                  <a:cubicBezTo>
                    <a:pt x="875" y="799"/>
                    <a:pt x="875" y="799"/>
                    <a:pt x="875" y="799"/>
                  </a:cubicBezTo>
                  <a:cubicBezTo>
                    <a:pt x="942" y="715"/>
                    <a:pt x="983" y="608"/>
                    <a:pt x="983" y="492"/>
                  </a:cubicBezTo>
                  <a:cubicBezTo>
                    <a:pt x="983" y="221"/>
                    <a:pt x="763" y="0"/>
                    <a:pt x="492" y="0"/>
                  </a:cubicBezTo>
                  <a:cubicBezTo>
                    <a:pt x="221" y="0"/>
                    <a:pt x="0" y="221"/>
                    <a:pt x="0" y="492"/>
                  </a:cubicBezTo>
                  <a:cubicBezTo>
                    <a:pt x="0" y="763"/>
                    <a:pt x="221" y="983"/>
                    <a:pt x="492" y="983"/>
                  </a:cubicBezTo>
                  <a:cubicBezTo>
                    <a:pt x="645" y="983"/>
                    <a:pt x="783" y="912"/>
                    <a:pt x="873" y="802"/>
                  </a:cubicBezTo>
                  <a:lnTo>
                    <a:pt x="456" y="802"/>
                  </a:lnTo>
                  <a:close/>
                  <a:moveTo>
                    <a:pt x="781" y="291"/>
                  </a:moveTo>
                  <a:cubicBezTo>
                    <a:pt x="875" y="291"/>
                    <a:pt x="875" y="291"/>
                    <a:pt x="875" y="291"/>
                  </a:cubicBezTo>
                  <a:cubicBezTo>
                    <a:pt x="875" y="779"/>
                    <a:pt x="875" y="779"/>
                    <a:pt x="875" y="779"/>
                  </a:cubicBezTo>
                  <a:cubicBezTo>
                    <a:pt x="781" y="779"/>
                    <a:pt x="781" y="779"/>
                    <a:pt x="781" y="779"/>
                  </a:cubicBezTo>
                  <a:lnTo>
                    <a:pt x="781" y="291"/>
                  </a:lnTo>
                  <a:close/>
                  <a:moveTo>
                    <a:pt x="668" y="390"/>
                  </a:moveTo>
                  <a:cubicBezTo>
                    <a:pt x="762" y="390"/>
                    <a:pt x="762" y="390"/>
                    <a:pt x="762" y="390"/>
                  </a:cubicBezTo>
                  <a:cubicBezTo>
                    <a:pt x="762" y="779"/>
                    <a:pt x="762" y="779"/>
                    <a:pt x="762" y="779"/>
                  </a:cubicBezTo>
                  <a:cubicBezTo>
                    <a:pt x="668" y="779"/>
                    <a:pt x="668" y="779"/>
                    <a:pt x="668" y="779"/>
                  </a:cubicBezTo>
                  <a:lnTo>
                    <a:pt x="668" y="390"/>
                  </a:lnTo>
                  <a:close/>
                  <a:moveTo>
                    <a:pt x="555" y="497"/>
                  </a:moveTo>
                  <a:cubicBezTo>
                    <a:pt x="649" y="497"/>
                    <a:pt x="649" y="497"/>
                    <a:pt x="649" y="497"/>
                  </a:cubicBezTo>
                  <a:cubicBezTo>
                    <a:pt x="649" y="779"/>
                    <a:pt x="649" y="779"/>
                    <a:pt x="649" y="779"/>
                  </a:cubicBezTo>
                  <a:cubicBezTo>
                    <a:pt x="555" y="779"/>
                    <a:pt x="555" y="779"/>
                    <a:pt x="555" y="779"/>
                  </a:cubicBezTo>
                  <a:lnTo>
                    <a:pt x="555" y="497"/>
                  </a:lnTo>
                  <a:close/>
                  <a:moveTo>
                    <a:pt x="442" y="573"/>
                  </a:moveTo>
                  <a:cubicBezTo>
                    <a:pt x="536" y="573"/>
                    <a:pt x="536" y="573"/>
                    <a:pt x="536" y="573"/>
                  </a:cubicBezTo>
                  <a:cubicBezTo>
                    <a:pt x="536" y="779"/>
                    <a:pt x="536" y="779"/>
                    <a:pt x="536" y="779"/>
                  </a:cubicBezTo>
                  <a:cubicBezTo>
                    <a:pt x="457" y="779"/>
                    <a:pt x="457" y="779"/>
                    <a:pt x="457" y="779"/>
                  </a:cubicBezTo>
                  <a:cubicBezTo>
                    <a:pt x="474" y="744"/>
                    <a:pt x="474" y="744"/>
                    <a:pt x="474" y="744"/>
                  </a:cubicBezTo>
                  <a:cubicBezTo>
                    <a:pt x="475" y="743"/>
                    <a:pt x="475" y="743"/>
                    <a:pt x="475" y="743"/>
                  </a:cubicBezTo>
                  <a:cubicBezTo>
                    <a:pt x="475" y="741"/>
                    <a:pt x="484" y="711"/>
                    <a:pt x="466" y="682"/>
                  </a:cubicBezTo>
                  <a:cubicBezTo>
                    <a:pt x="460" y="673"/>
                    <a:pt x="452" y="665"/>
                    <a:pt x="442" y="658"/>
                  </a:cubicBezTo>
                  <a:lnTo>
                    <a:pt x="442" y="573"/>
                  </a:lnTo>
                  <a:close/>
                  <a:moveTo>
                    <a:pt x="177" y="341"/>
                  </a:moveTo>
                  <a:cubicBezTo>
                    <a:pt x="177" y="341"/>
                    <a:pt x="224" y="297"/>
                    <a:pt x="262" y="298"/>
                  </a:cubicBezTo>
                  <a:cubicBezTo>
                    <a:pt x="262" y="298"/>
                    <a:pt x="286" y="296"/>
                    <a:pt x="289" y="316"/>
                  </a:cubicBezTo>
                  <a:cubicBezTo>
                    <a:pt x="289" y="316"/>
                    <a:pt x="291" y="327"/>
                    <a:pt x="300" y="318"/>
                  </a:cubicBezTo>
                  <a:cubicBezTo>
                    <a:pt x="300" y="318"/>
                    <a:pt x="308" y="307"/>
                    <a:pt x="315" y="308"/>
                  </a:cubicBezTo>
                  <a:cubicBezTo>
                    <a:pt x="315" y="308"/>
                    <a:pt x="333" y="307"/>
                    <a:pt x="371" y="341"/>
                  </a:cubicBezTo>
                  <a:cubicBezTo>
                    <a:pt x="401" y="370"/>
                    <a:pt x="400" y="400"/>
                    <a:pt x="400" y="400"/>
                  </a:cubicBezTo>
                  <a:cubicBezTo>
                    <a:pt x="398" y="429"/>
                    <a:pt x="381" y="444"/>
                    <a:pt x="381" y="444"/>
                  </a:cubicBezTo>
                  <a:cubicBezTo>
                    <a:pt x="378" y="459"/>
                    <a:pt x="378" y="459"/>
                    <a:pt x="378" y="459"/>
                  </a:cubicBezTo>
                  <a:cubicBezTo>
                    <a:pt x="398" y="454"/>
                    <a:pt x="393" y="463"/>
                    <a:pt x="393" y="463"/>
                  </a:cubicBezTo>
                  <a:cubicBezTo>
                    <a:pt x="392" y="476"/>
                    <a:pt x="374" y="513"/>
                    <a:pt x="374" y="513"/>
                  </a:cubicBezTo>
                  <a:cubicBezTo>
                    <a:pt x="370" y="518"/>
                    <a:pt x="366" y="515"/>
                    <a:pt x="366" y="515"/>
                  </a:cubicBezTo>
                  <a:cubicBezTo>
                    <a:pt x="366" y="515"/>
                    <a:pt x="354" y="595"/>
                    <a:pt x="274" y="611"/>
                  </a:cubicBezTo>
                  <a:cubicBezTo>
                    <a:pt x="194" y="595"/>
                    <a:pt x="182" y="515"/>
                    <a:pt x="182" y="515"/>
                  </a:cubicBezTo>
                  <a:cubicBezTo>
                    <a:pt x="182" y="515"/>
                    <a:pt x="178" y="518"/>
                    <a:pt x="174" y="513"/>
                  </a:cubicBezTo>
                  <a:cubicBezTo>
                    <a:pt x="174" y="513"/>
                    <a:pt x="156" y="476"/>
                    <a:pt x="154" y="463"/>
                  </a:cubicBezTo>
                  <a:cubicBezTo>
                    <a:pt x="154" y="463"/>
                    <a:pt x="150" y="454"/>
                    <a:pt x="170" y="459"/>
                  </a:cubicBezTo>
                  <a:cubicBezTo>
                    <a:pt x="167" y="444"/>
                    <a:pt x="167" y="444"/>
                    <a:pt x="167" y="444"/>
                  </a:cubicBezTo>
                  <a:cubicBezTo>
                    <a:pt x="167" y="444"/>
                    <a:pt x="149" y="429"/>
                    <a:pt x="147" y="400"/>
                  </a:cubicBezTo>
                  <a:cubicBezTo>
                    <a:pt x="147" y="400"/>
                    <a:pt x="147" y="370"/>
                    <a:pt x="177" y="341"/>
                  </a:cubicBezTo>
                  <a:close/>
                  <a:moveTo>
                    <a:pt x="262" y="629"/>
                  </a:moveTo>
                  <a:cubicBezTo>
                    <a:pt x="264" y="629"/>
                    <a:pt x="266" y="630"/>
                    <a:pt x="269" y="630"/>
                  </a:cubicBezTo>
                  <a:cubicBezTo>
                    <a:pt x="280" y="630"/>
                    <a:pt x="280" y="630"/>
                    <a:pt x="280" y="630"/>
                  </a:cubicBezTo>
                  <a:cubicBezTo>
                    <a:pt x="285" y="630"/>
                    <a:pt x="290" y="628"/>
                    <a:pt x="293" y="627"/>
                  </a:cubicBezTo>
                  <a:cubicBezTo>
                    <a:pt x="288" y="641"/>
                    <a:pt x="282" y="660"/>
                    <a:pt x="277" y="666"/>
                  </a:cubicBezTo>
                  <a:cubicBezTo>
                    <a:pt x="273" y="661"/>
                    <a:pt x="268" y="642"/>
                    <a:pt x="262" y="629"/>
                  </a:cubicBezTo>
                  <a:close/>
                  <a:moveTo>
                    <a:pt x="267" y="671"/>
                  </a:moveTo>
                  <a:cubicBezTo>
                    <a:pt x="266" y="672"/>
                    <a:pt x="266" y="674"/>
                    <a:pt x="265" y="677"/>
                  </a:cubicBezTo>
                  <a:cubicBezTo>
                    <a:pt x="247" y="679"/>
                    <a:pt x="210" y="646"/>
                    <a:pt x="189" y="621"/>
                  </a:cubicBezTo>
                  <a:cubicBezTo>
                    <a:pt x="194" y="614"/>
                    <a:pt x="199" y="604"/>
                    <a:pt x="204" y="592"/>
                  </a:cubicBezTo>
                  <a:cubicBezTo>
                    <a:pt x="241" y="618"/>
                    <a:pt x="241" y="618"/>
                    <a:pt x="241" y="618"/>
                  </a:cubicBezTo>
                  <a:cubicBezTo>
                    <a:pt x="241" y="619"/>
                    <a:pt x="241" y="619"/>
                    <a:pt x="241" y="619"/>
                  </a:cubicBezTo>
                  <a:cubicBezTo>
                    <a:pt x="245" y="629"/>
                    <a:pt x="256" y="657"/>
                    <a:pt x="267" y="671"/>
                  </a:cubicBezTo>
                  <a:close/>
                  <a:moveTo>
                    <a:pt x="314" y="619"/>
                  </a:moveTo>
                  <a:cubicBezTo>
                    <a:pt x="315" y="613"/>
                    <a:pt x="315" y="613"/>
                    <a:pt x="315" y="613"/>
                  </a:cubicBezTo>
                  <a:cubicBezTo>
                    <a:pt x="345" y="592"/>
                    <a:pt x="345" y="592"/>
                    <a:pt x="345" y="592"/>
                  </a:cubicBezTo>
                  <a:cubicBezTo>
                    <a:pt x="350" y="607"/>
                    <a:pt x="357" y="617"/>
                    <a:pt x="362" y="625"/>
                  </a:cubicBezTo>
                  <a:cubicBezTo>
                    <a:pt x="341" y="649"/>
                    <a:pt x="307" y="679"/>
                    <a:pt x="290" y="677"/>
                  </a:cubicBezTo>
                  <a:cubicBezTo>
                    <a:pt x="289" y="674"/>
                    <a:pt x="288" y="672"/>
                    <a:pt x="288" y="671"/>
                  </a:cubicBezTo>
                  <a:cubicBezTo>
                    <a:pt x="299" y="657"/>
                    <a:pt x="310" y="629"/>
                    <a:pt x="314" y="619"/>
                  </a:cubicBezTo>
                  <a:close/>
                  <a:moveTo>
                    <a:pt x="141" y="813"/>
                  </a:moveTo>
                  <a:cubicBezTo>
                    <a:pt x="135" y="806"/>
                    <a:pt x="129" y="799"/>
                    <a:pt x="123" y="792"/>
                  </a:cubicBezTo>
                  <a:cubicBezTo>
                    <a:pt x="125" y="784"/>
                    <a:pt x="128" y="776"/>
                    <a:pt x="133" y="768"/>
                  </a:cubicBezTo>
                  <a:cubicBezTo>
                    <a:pt x="139" y="757"/>
                    <a:pt x="139" y="757"/>
                    <a:pt x="139" y="757"/>
                  </a:cubicBezTo>
                  <a:cubicBezTo>
                    <a:pt x="139" y="757"/>
                    <a:pt x="149" y="730"/>
                    <a:pt x="126" y="753"/>
                  </a:cubicBezTo>
                  <a:cubicBezTo>
                    <a:pt x="126" y="753"/>
                    <a:pt x="118" y="761"/>
                    <a:pt x="109" y="774"/>
                  </a:cubicBezTo>
                  <a:cubicBezTo>
                    <a:pt x="90" y="748"/>
                    <a:pt x="73" y="719"/>
                    <a:pt x="59" y="689"/>
                  </a:cubicBezTo>
                  <a:cubicBezTo>
                    <a:pt x="73" y="679"/>
                    <a:pt x="104" y="661"/>
                    <a:pt x="157" y="649"/>
                  </a:cubicBezTo>
                  <a:cubicBezTo>
                    <a:pt x="157" y="649"/>
                    <a:pt x="166" y="647"/>
                    <a:pt x="179" y="634"/>
                  </a:cubicBezTo>
                  <a:cubicBezTo>
                    <a:pt x="194" y="651"/>
                    <a:pt x="232" y="690"/>
                    <a:pt x="261" y="693"/>
                  </a:cubicBezTo>
                  <a:cubicBezTo>
                    <a:pt x="251" y="732"/>
                    <a:pt x="243" y="796"/>
                    <a:pt x="241" y="813"/>
                  </a:cubicBezTo>
                  <a:lnTo>
                    <a:pt x="141" y="813"/>
                  </a:lnTo>
                  <a:close/>
                  <a:moveTo>
                    <a:pt x="257" y="813"/>
                  </a:moveTo>
                  <a:cubicBezTo>
                    <a:pt x="262" y="773"/>
                    <a:pt x="270" y="708"/>
                    <a:pt x="277" y="680"/>
                  </a:cubicBezTo>
                  <a:cubicBezTo>
                    <a:pt x="284" y="708"/>
                    <a:pt x="293" y="773"/>
                    <a:pt x="298" y="813"/>
                  </a:cubicBezTo>
                  <a:lnTo>
                    <a:pt x="257" y="813"/>
                  </a:lnTo>
                  <a:close/>
                  <a:moveTo>
                    <a:pt x="314" y="813"/>
                  </a:moveTo>
                  <a:cubicBezTo>
                    <a:pt x="312" y="796"/>
                    <a:pt x="303" y="732"/>
                    <a:pt x="294" y="693"/>
                  </a:cubicBezTo>
                  <a:cubicBezTo>
                    <a:pt x="321" y="690"/>
                    <a:pt x="356" y="656"/>
                    <a:pt x="373" y="637"/>
                  </a:cubicBezTo>
                  <a:cubicBezTo>
                    <a:pt x="384" y="647"/>
                    <a:pt x="392" y="649"/>
                    <a:pt x="392" y="649"/>
                  </a:cubicBezTo>
                  <a:cubicBezTo>
                    <a:pt x="489" y="666"/>
                    <a:pt x="467" y="741"/>
                    <a:pt x="467" y="741"/>
                  </a:cubicBezTo>
                  <a:cubicBezTo>
                    <a:pt x="447" y="782"/>
                    <a:pt x="447" y="782"/>
                    <a:pt x="447" y="782"/>
                  </a:cubicBezTo>
                  <a:cubicBezTo>
                    <a:pt x="450" y="813"/>
                    <a:pt x="450" y="813"/>
                    <a:pt x="450" y="813"/>
                  </a:cubicBezTo>
                  <a:lnTo>
                    <a:pt x="314" y="8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89">
                <a:defRPr/>
              </a:pPr>
              <a:endParaRPr lang="en-US" kern="0" dirty="0">
                <a:solidFill>
                  <a:sysClr val="windowText" lastClr="000000"/>
                </a:solidFill>
                <a:latin typeface="Segoe UI"/>
              </a:endParaRPr>
            </a:p>
          </p:txBody>
        </p:sp>
      </p:grpSp>
      <p:sp>
        <p:nvSpPr>
          <p:cNvPr id="51" name="Right Arrow 31">
            <a:extLst>
              <a:ext uri="{FF2B5EF4-FFF2-40B4-BE49-F238E27FC236}">
                <a16:creationId xmlns:a16="http://schemas.microsoft.com/office/drawing/2014/main" id="{CAE93EBA-1056-4041-9769-EE8F08FA3C35}"/>
              </a:ext>
            </a:extLst>
          </p:cNvPr>
          <p:cNvSpPr/>
          <p:nvPr/>
        </p:nvSpPr>
        <p:spPr>
          <a:xfrm rot="1354991">
            <a:off x="1531709" y="2462515"/>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2" name="Right Arrow 32">
            <a:extLst>
              <a:ext uri="{FF2B5EF4-FFF2-40B4-BE49-F238E27FC236}">
                <a16:creationId xmlns:a16="http://schemas.microsoft.com/office/drawing/2014/main" id="{2F011F24-211F-47E6-8565-809FB17D5244}"/>
              </a:ext>
            </a:extLst>
          </p:cNvPr>
          <p:cNvSpPr/>
          <p:nvPr/>
        </p:nvSpPr>
        <p:spPr>
          <a:xfrm>
            <a:off x="3114060"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3" name="Right Arrow 33">
            <a:extLst>
              <a:ext uri="{FF2B5EF4-FFF2-40B4-BE49-F238E27FC236}">
                <a16:creationId xmlns:a16="http://schemas.microsoft.com/office/drawing/2014/main" id="{74D0BC73-C823-4ADC-B983-6C84C3BE5D07}"/>
              </a:ext>
            </a:extLst>
          </p:cNvPr>
          <p:cNvSpPr/>
          <p:nvPr/>
        </p:nvSpPr>
        <p:spPr>
          <a:xfrm>
            <a:off x="1496976" y="3130640"/>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4" name="Right Arrow 34">
            <a:extLst>
              <a:ext uri="{FF2B5EF4-FFF2-40B4-BE49-F238E27FC236}">
                <a16:creationId xmlns:a16="http://schemas.microsoft.com/office/drawing/2014/main" id="{7C8E8642-8234-4995-9171-320190F43FF6}"/>
              </a:ext>
            </a:extLst>
          </p:cNvPr>
          <p:cNvSpPr/>
          <p:nvPr/>
        </p:nvSpPr>
        <p:spPr>
          <a:xfrm rot="19751463">
            <a:off x="1532972" y="3893693"/>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sp>
        <p:nvSpPr>
          <p:cNvPr id="55" name="Right Arrow 35">
            <a:extLst>
              <a:ext uri="{FF2B5EF4-FFF2-40B4-BE49-F238E27FC236}">
                <a16:creationId xmlns:a16="http://schemas.microsoft.com/office/drawing/2014/main" id="{06303442-5DB0-4130-98ED-5312C1E6BAED}"/>
              </a:ext>
            </a:extLst>
          </p:cNvPr>
          <p:cNvSpPr/>
          <p:nvPr/>
        </p:nvSpPr>
        <p:spPr>
          <a:xfrm>
            <a:off x="5342591" y="2741032"/>
            <a:ext cx="597399" cy="305164"/>
          </a:xfrm>
          <a:prstGeom prst="rightArrow">
            <a:avLst/>
          </a:prstGeom>
          <a:solidFill>
            <a:srgbClr val="EEECE1"/>
          </a:solidFill>
          <a:ln w="25400" cap="flat" cmpd="sng" algn="ctr">
            <a:noFill/>
            <a:prstDash val="solid"/>
          </a:ln>
          <a:effectLst/>
        </p:spPr>
        <p:txBody>
          <a:bodyPr rtlCol="0" anchor="ctr"/>
          <a:lstStyle/>
          <a:p>
            <a:pPr algn="ctr" defTabSz="914389">
              <a:defRPr/>
            </a:pPr>
            <a:endParaRPr lang="en-US" kern="0" dirty="0">
              <a:solidFill>
                <a:prstClr val="white"/>
              </a:solidFill>
              <a:latin typeface="Segoe UI"/>
            </a:endParaRPr>
          </a:p>
        </p:txBody>
      </p:sp>
      <p:pic>
        <p:nvPicPr>
          <p:cNvPr id="59" name="Picture 2">
            <a:extLst>
              <a:ext uri="{FF2B5EF4-FFF2-40B4-BE49-F238E27FC236}">
                <a16:creationId xmlns:a16="http://schemas.microsoft.com/office/drawing/2014/main" id="{3E8629F3-60D3-4474-9D98-12BB7764826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78031" y="3250731"/>
            <a:ext cx="1300579" cy="115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TextBox 60">
            <a:extLst>
              <a:ext uri="{FF2B5EF4-FFF2-40B4-BE49-F238E27FC236}">
                <a16:creationId xmlns:a16="http://schemas.microsoft.com/office/drawing/2014/main" id="{713E345A-CD6F-4C61-8FD5-B3EE345739FB}"/>
              </a:ext>
            </a:extLst>
          </p:cNvPr>
          <p:cNvSpPr txBox="1"/>
          <p:nvPr/>
        </p:nvSpPr>
        <p:spPr>
          <a:xfrm>
            <a:off x="314531" y="5429802"/>
            <a:ext cx="2341512"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TP systems</a:t>
            </a:r>
          </a:p>
        </p:txBody>
      </p:sp>
      <p:sp>
        <p:nvSpPr>
          <p:cNvPr id="62" name="TextBox 61">
            <a:extLst>
              <a:ext uri="{FF2B5EF4-FFF2-40B4-BE49-F238E27FC236}">
                <a16:creationId xmlns:a16="http://schemas.microsoft.com/office/drawing/2014/main" id="{046F4202-693A-48D5-B657-852958DEFF5C}"/>
              </a:ext>
            </a:extLst>
          </p:cNvPr>
          <p:cNvSpPr txBox="1"/>
          <p:nvPr/>
        </p:nvSpPr>
        <p:spPr>
          <a:xfrm>
            <a:off x="7789893" y="534712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Reports and dashboards</a:t>
            </a:r>
          </a:p>
        </p:txBody>
      </p:sp>
      <p:sp>
        <p:nvSpPr>
          <p:cNvPr id="63" name="TextBox 62">
            <a:extLst>
              <a:ext uri="{FF2B5EF4-FFF2-40B4-BE49-F238E27FC236}">
                <a16:creationId xmlns:a16="http://schemas.microsoft.com/office/drawing/2014/main" id="{0039D32F-369F-495F-9558-220EB6EE22F5}"/>
              </a:ext>
            </a:extLst>
          </p:cNvPr>
          <p:cNvSpPr txBox="1"/>
          <p:nvPr/>
        </p:nvSpPr>
        <p:spPr>
          <a:xfrm>
            <a:off x="2957554" y="5347129"/>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Warehouse</a:t>
            </a:r>
          </a:p>
        </p:txBody>
      </p:sp>
      <p:sp>
        <p:nvSpPr>
          <p:cNvPr id="64" name="TextBox 63">
            <a:extLst>
              <a:ext uri="{FF2B5EF4-FFF2-40B4-BE49-F238E27FC236}">
                <a16:creationId xmlns:a16="http://schemas.microsoft.com/office/drawing/2014/main" id="{14C50485-C030-4A94-851C-A8896BB47C6B}"/>
              </a:ext>
            </a:extLst>
          </p:cNvPr>
          <p:cNvSpPr txBox="1"/>
          <p:nvPr/>
        </p:nvSpPr>
        <p:spPr>
          <a:xfrm>
            <a:off x="1312453" y="6241639"/>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Data Preparation / ETL</a:t>
            </a:r>
          </a:p>
        </p:txBody>
      </p:sp>
      <p:sp>
        <p:nvSpPr>
          <p:cNvPr id="65" name="TextBox 64">
            <a:extLst>
              <a:ext uri="{FF2B5EF4-FFF2-40B4-BE49-F238E27FC236}">
                <a16:creationId xmlns:a16="http://schemas.microsoft.com/office/drawing/2014/main" id="{4EEC267D-E00D-4870-8154-056301CA2B51}"/>
              </a:ext>
            </a:extLst>
          </p:cNvPr>
          <p:cNvSpPr txBox="1"/>
          <p:nvPr/>
        </p:nvSpPr>
        <p:spPr>
          <a:xfrm>
            <a:off x="5395596" y="6240436"/>
            <a:ext cx="2982436" cy="307777"/>
          </a:xfrm>
          <a:prstGeom prst="rect">
            <a:avLst/>
          </a:prstGeom>
          <a:noFill/>
        </p:spPr>
        <p:txBody>
          <a:bodyPr wrap="square" lIns="0" tIns="0" rIns="0" bIns="0" rtlCol="0">
            <a:spAutoFit/>
          </a:bodyPr>
          <a:lstStyle/>
          <a:p>
            <a:pPr defTabSz="914355">
              <a:defRPr/>
            </a:pPr>
            <a:r>
              <a:rPr lang="en-US" sz="2000" dirty="0">
                <a:solidFill>
                  <a:srgbClr val="FFFFFF"/>
                </a:solidFill>
                <a:latin typeface="Segoe UI"/>
              </a:rPr>
              <a:t>OLAP / Analytics Models</a:t>
            </a:r>
          </a:p>
        </p:txBody>
      </p:sp>
      <p:sp>
        <p:nvSpPr>
          <p:cNvPr id="66" name="TextBox 65">
            <a:extLst>
              <a:ext uri="{FF2B5EF4-FFF2-40B4-BE49-F238E27FC236}">
                <a16:creationId xmlns:a16="http://schemas.microsoft.com/office/drawing/2014/main" id="{6CA7AE1F-7E8C-4385-BF32-E22D0E0F1CB1}"/>
              </a:ext>
            </a:extLst>
          </p:cNvPr>
          <p:cNvSpPr txBox="1"/>
          <p:nvPr/>
        </p:nvSpPr>
        <p:spPr>
          <a:xfrm>
            <a:off x="2957554" y="5775862"/>
            <a:ext cx="2982436" cy="307777"/>
          </a:xfrm>
          <a:prstGeom prst="rect">
            <a:avLst/>
          </a:prstGeom>
          <a:noFill/>
        </p:spPr>
        <p:txBody>
          <a:bodyPr wrap="square" lIns="0" tIns="0" rIns="0" bIns="0" rtlCol="0">
            <a:spAutoFit/>
          </a:bodyPr>
          <a:lstStyle/>
          <a:p>
            <a:pPr algn="ctr" defTabSz="914355">
              <a:defRPr/>
            </a:pPr>
            <a:r>
              <a:rPr lang="en-US" sz="2000" dirty="0">
                <a:solidFill>
                  <a:srgbClr val="FFFFFF"/>
                </a:solidFill>
                <a:latin typeface="Segoe UI"/>
              </a:rPr>
              <a:t>Data Lake</a:t>
            </a:r>
          </a:p>
        </p:txBody>
      </p:sp>
      <p:pic>
        <p:nvPicPr>
          <p:cNvPr id="70" name="Picture 2" descr="\\SFP\Work\White_Whale\3-22036_Kuleen_Bharadwaj\PPT\3_PlatformVision_Kuleen\SFP_Art\Plane Slide\man_tie.png">
            <a:extLst>
              <a:ext uri="{FF2B5EF4-FFF2-40B4-BE49-F238E27FC236}">
                <a16:creationId xmlns:a16="http://schemas.microsoft.com/office/drawing/2014/main" id="{B55E8488-1162-47FA-BD98-748614250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18366" y="2770850"/>
            <a:ext cx="821481" cy="9649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70DC97E-74A0-4E00-9D04-1776CEE99049}"/>
              </a:ext>
            </a:extLst>
          </p:cNvPr>
          <p:cNvGrpSpPr/>
          <p:nvPr/>
        </p:nvGrpSpPr>
        <p:grpSpPr>
          <a:xfrm>
            <a:off x="4165230" y="3717297"/>
            <a:ext cx="720388" cy="942103"/>
            <a:chOff x="4165230" y="3717297"/>
            <a:chExt cx="720388" cy="942103"/>
          </a:xfrm>
        </p:grpSpPr>
        <p:sp>
          <p:nvSpPr>
            <p:cNvPr id="58" name="Oval 10">
              <a:extLst>
                <a:ext uri="{FF2B5EF4-FFF2-40B4-BE49-F238E27FC236}">
                  <a16:creationId xmlns:a16="http://schemas.microsoft.com/office/drawing/2014/main" id="{C0459F33-EF24-4335-BB30-07F5D4C44D7B}"/>
                </a:ext>
              </a:extLst>
            </p:cNvPr>
            <p:cNvSpPr>
              <a:spLocks noChangeArrowheads="1"/>
            </p:cNvSpPr>
            <p:nvPr/>
          </p:nvSpPr>
          <p:spPr bwMode="auto">
            <a:xfrm>
              <a:off x="4178851" y="3717297"/>
              <a:ext cx="693146" cy="13242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bodyPr>
            <a:lstStyle/>
            <a:p>
              <a:pPr defTabSz="914355">
                <a:defRPr/>
              </a:pPr>
              <a:endParaRPr lang="es-MX" sz="1765" dirty="0">
                <a:solidFill>
                  <a:srgbClr val="FFFFFF"/>
                </a:solidFill>
                <a:latin typeface="Segoe UI"/>
              </a:endParaRPr>
            </a:p>
          </p:txBody>
        </p:sp>
        <p:sp>
          <p:nvSpPr>
            <p:cNvPr id="60" name="Forma libre 74">
              <a:extLst>
                <a:ext uri="{FF2B5EF4-FFF2-40B4-BE49-F238E27FC236}">
                  <a16:creationId xmlns:a16="http://schemas.microsoft.com/office/drawing/2014/main" id="{5023DE38-E2AF-43FD-B713-D4F67CFD09DF}"/>
                </a:ext>
              </a:extLst>
            </p:cNvPr>
            <p:cNvSpPr>
              <a:spLocks/>
            </p:cNvSpPr>
            <p:nvPr/>
          </p:nvSpPr>
          <p:spPr bwMode="auto">
            <a:xfrm>
              <a:off x="4165230" y="3807345"/>
              <a:ext cx="720388" cy="237218"/>
            </a:xfrm>
            <a:custGeom>
              <a:avLst/>
              <a:gdLst>
                <a:gd name="connsiteX0" fmla="*/ 0 w 1511300"/>
                <a:gd name="connsiteY0" fmla="*/ 0 h 497660"/>
                <a:gd name="connsiteX1" fmla="*/ 755650 w 1511300"/>
                <a:gd name="connsiteY1" fmla="*/ 171633 h 497660"/>
                <a:gd name="connsiteX2" fmla="*/ 1511300 w 1511300"/>
                <a:gd name="connsiteY2" fmla="*/ 0 h 497660"/>
                <a:gd name="connsiteX3" fmla="*/ 1511300 w 1511300"/>
                <a:gd name="connsiteY3" fmla="*/ 394688 h 497660"/>
                <a:gd name="connsiteX4" fmla="*/ 1511300 w 1511300"/>
                <a:gd name="connsiteY4" fmla="*/ 483307 h 497660"/>
                <a:gd name="connsiteX5" fmla="*/ 1498410 w 1511300"/>
                <a:gd name="connsiteY5" fmla="*/ 488609 h 497660"/>
                <a:gd name="connsiteX6" fmla="*/ 1426688 w 1511300"/>
                <a:gd name="connsiteY6" fmla="*/ 497660 h 497660"/>
                <a:gd name="connsiteX7" fmla="*/ 1260831 w 1511300"/>
                <a:gd name="connsiteY7" fmla="*/ 436563 h 497660"/>
                <a:gd name="connsiteX8" fmla="*/ 1094974 w 1511300"/>
                <a:gd name="connsiteY8" fmla="*/ 497660 h 497660"/>
                <a:gd name="connsiteX9" fmla="*/ 928370 w 1511300"/>
                <a:gd name="connsiteY9" fmla="*/ 436563 h 497660"/>
                <a:gd name="connsiteX10" fmla="*/ 762513 w 1511300"/>
                <a:gd name="connsiteY10" fmla="*/ 497660 h 497660"/>
                <a:gd name="connsiteX11" fmla="*/ 595910 w 1511300"/>
                <a:gd name="connsiteY11" fmla="*/ 436563 h 497660"/>
                <a:gd name="connsiteX12" fmla="*/ 430053 w 1511300"/>
                <a:gd name="connsiteY12" fmla="*/ 497660 h 497660"/>
                <a:gd name="connsiteX13" fmla="*/ 263449 w 1511300"/>
                <a:gd name="connsiteY13" fmla="*/ 436563 h 497660"/>
                <a:gd name="connsiteX14" fmla="*/ 97592 w 1511300"/>
                <a:gd name="connsiteY14" fmla="*/ 497660 h 497660"/>
                <a:gd name="connsiteX15" fmla="*/ 28672 w 1511300"/>
                <a:gd name="connsiteY15" fmla="*/ 489175 h 497660"/>
                <a:gd name="connsiteX16" fmla="*/ 0 w 1511300"/>
                <a:gd name="connsiteY16" fmla="*/ 477872 h 497660"/>
                <a:gd name="connsiteX17" fmla="*/ 0 w 1511300"/>
                <a:gd name="connsiteY17" fmla="*/ 413386 h 497660"/>
                <a:gd name="connsiteX18" fmla="*/ 0 w 1511300"/>
                <a:gd name="connsiteY18" fmla="*/ 0 h 49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497660">
                  <a:moveTo>
                    <a:pt x="0" y="0"/>
                  </a:moveTo>
                  <a:cubicBezTo>
                    <a:pt x="0" y="95185"/>
                    <a:pt x="337838" y="171633"/>
                    <a:pt x="755650" y="171633"/>
                  </a:cubicBezTo>
                  <a:cubicBezTo>
                    <a:pt x="1172715" y="171633"/>
                    <a:pt x="1511300" y="95185"/>
                    <a:pt x="1511300" y="0"/>
                  </a:cubicBezTo>
                  <a:cubicBezTo>
                    <a:pt x="1511300" y="0"/>
                    <a:pt x="1511300" y="0"/>
                    <a:pt x="1511300" y="394688"/>
                  </a:cubicBezTo>
                  <a:lnTo>
                    <a:pt x="1511300" y="483307"/>
                  </a:lnTo>
                  <a:lnTo>
                    <a:pt x="1498410" y="488609"/>
                  </a:lnTo>
                  <a:cubicBezTo>
                    <a:pt x="1476184" y="494454"/>
                    <a:pt x="1452090" y="497660"/>
                    <a:pt x="1426688" y="497660"/>
                  </a:cubicBezTo>
                  <a:cubicBezTo>
                    <a:pt x="1358702" y="497660"/>
                    <a:pt x="1298186" y="473523"/>
                    <a:pt x="1260831" y="436563"/>
                  </a:cubicBezTo>
                  <a:cubicBezTo>
                    <a:pt x="1223476" y="473523"/>
                    <a:pt x="1162961" y="497660"/>
                    <a:pt x="1094974" y="497660"/>
                  </a:cubicBezTo>
                  <a:cubicBezTo>
                    <a:pt x="1026241" y="497660"/>
                    <a:pt x="965725" y="473523"/>
                    <a:pt x="928370" y="436563"/>
                  </a:cubicBezTo>
                  <a:cubicBezTo>
                    <a:pt x="891015" y="473523"/>
                    <a:pt x="830500" y="497660"/>
                    <a:pt x="762513" y="497660"/>
                  </a:cubicBezTo>
                  <a:cubicBezTo>
                    <a:pt x="693780" y="497660"/>
                    <a:pt x="633265" y="473523"/>
                    <a:pt x="595910" y="436563"/>
                  </a:cubicBezTo>
                  <a:cubicBezTo>
                    <a:pt x="558554" y="473523"/>
                    <a:pt x="498039" y="497660"/>
                    <a:pt x="430053" y="497660"/>
                  </a:cubicBezTo>
                  <a:cubicBezTo>
                    <a:pt x="361319" y="497660"/>
                    <a:pt x="300804" y="473523"/>
                    <a:pt x="263449" y="436563"/>
                  </a:cubicBezTo>
                  <a:cubicBezTo>
                    <a:pt x="226094" y="473523"/>
                    <a:pt x="165578" y="497660"/>
                    <a:pt x="97592" y="497660"/>
                  </a:cubicBezTo>
                  <a:cubicBezTo>
                    <a:pt x="73311" y="497660"/>
                    <a:pt x="50151" y="494643"/>
                    <a:pt x="28672" y="489175"/>
                  </a:cubicBezTo>
                  <a:lnTo>
                    <a:pt x="0" y="477872"/>
                  </a:lnTo>
                  <a:lnTo>
                    <a:pt x="0" y="413386"/>
                  </a:lnTo>
                  <a:cubicBezTo>
                    <a:pt x="0" y="288911"/>
                    <a:pt x="0" y="15156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sp>
          <p:nvSpPr>
            <p:cNvPr id="67" name="Forma libre 71">
              <a:extLst>
                <a:ext uri="{FF2B5EF4-FFF2-40B4-BE49-F238E27FC236}">
                  <a16:creationId xmlns:a16="http://schemas.microsoft.com/office/drawing/2014/main" id="{5A87338C-87AC-4D6A-B87A-A0A17677A21C}"/>
                </a:ext>
              </a:extLst>
            </p:cNvPr>
            <p:cNvSpPr>
              <a:spLocks/>
            </p:cNvSpPr>
            <p:nvPr/>
          </p:nvSpPr>
          <p:spPr bwMode="auto">
            <a:xfrm>
              <a:off x="4165230" y="4051394"/>
              <a:ext cx="720388" cy="608006"/>
            </a:xfrm>
            <a:custGeom>
              <a:avLst/>
              <a:gdLst>
                <a:gd name="connsiteX0" fmla="*/ 263449 w 1511300"/>
                <a:gd name="connsiteY0" fmla="*/ 0 h 1275534"/>
                <a:gd name="connsiteX1" fmla="*/ 430053 w 1511300"/>
                <a:gd name="connsiteY1" fmla="*/ 61097 h 1275534"/>
                <a:gd name="connsiteX2" fmla="*/ 595910 w 1511300"/>
                <a:gd name="connsiteY2" fmla="*/ 0 h 1275534"/>
                <a:gd name="connsiteX3" fmla="*/ 762513 w 1511300"/>
                <a:gd name="connsiteY3" fmla="*/ 61097 h 1275534"/>
                <a:gd name="connsiteX4" fmla="*/ 928370 w 1511300"/>
                <a:gd name="connsiteY4" fmla="*/ 0 h 1275534"/>
                <a:gd name="connsiteX5" fmla="*/ 1094974 w 1511300"/>
                <a:gd name="connsiteY5" fmla="*/ 61097 h 1275534"/>
                <a:gd name="connsiteX6" fmla="*/ 1260831 w 1511300"/>
                <a:gd name="connsiteY6" fmla="*/ 0 h 1275534"/>
                <a:gd name="connsiteX7" fmla="*/ 1426688 w 1511300"/>
                <a:gd name="connsiteY7" fmla="*/ 61097 h 1275534"/>
                <a:gd name="connsiteX8" fmla="*/ 1498410 w 1511300"/>
                <a:gd name="connsiteY8" fmla="*/ 51669 h 1275534"/>
                <a:gd name="connsiteX9" fmla="*/ 1511300 w 1511300"/>
                <a:gd name="connsiteY9" fmla="*/ 46287 h 1275534"/>
                <a:gd name="connsiteX10" fmla="*/ 1511300 w 1511300"/>
                <a:gd name="connsiteY10" fmla="*/ 170030 h 1275534"/>
                <a:gd name="connsiteX11" fmla="*/ 1511300 w 1511300"/>
                <a:gd name="connsiteY11" fmla="*/ 1104651 h 1275534"/>
                <a:gd name="connsiteX12" fmla="*/ 755650 w 1511300"/>
                <a:gd name="connsiteY12" fmla="*/ 1275534 h 1275534"/>
                <a:gd name="connsiteX13" fmla="*/ 0 w 1511300"/>
                <a:gd name="connsiteY13" fmla="*/ 1104651 h 1275534"/>
                <a:gd name="connsiteX14" fmla="*/ 0 w 1511300"/>
                <a:gd name="connsiteY14" fmla="*/ 133571 h 1275534"/>
                <a:gd name="connsiteX15" fmla="*/ 0 w 1511300"/>
                <a:gd name="connsiteY15" fmla="*/ 40893 h 1275534"/>
                <a:gd name="connsiteX16" fmla="*/ 28672 w 1511300"/>
                <a:gd name="connsiteY16" fmla="*/ 52517 h 1275534"/>
                <a:gd name="connsiteX17" fmla="*/ 97592 w 1511300"/>
                <a:gd name="connsiteY17" fmla="*/ 61097 h 1275534"/>
                <a:gd name="connsiteX18" fmla="*/ 263449 w 1511300"/>
                <a:gd name="connsiteY18" fmla="*/ 0 h 127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11300" h="1275534">
                  <a:moveTo>
                    <a:pt x="263449" y="0"/>
                  </a:moveTo>
                  <a:cubicBezTo>
                    <a:pt x="300804" y="36960"/>
                    <a:pt x="361319" y="61097"/>
                    <a:pt x="430053" y="61097"/>
                  </a:cubicBezTo>
                  <a:cubicBezTo>
                    <a:pt x="498039" y="61097"/>
                    <a:pt x="558554" y="36960"/>
                    <a:pt x="595910" y="0"/>
                  </a:cubicBezTo>
                  <a:cubicBezTo>
                    <a:pt x="633265" y="36960"/>
                    <a:pt x="693780" y="61097"/>
                    <a:pt x="762513" y="61097"/>
                  </a:cubicBezTo>
                  <a:cubicBezTo>
                    <a:pt x="830500" y="61097"/>
                    <a:pt x="891015" y="36960"/>
                    <a:pt x="928370" y="0"/>
                  </a:cubicBezTo>
                  <a:cubicBezTo>
                    <a:pt x="965725" y="36960"/>
                    <a:pt x="1026241" y="61097"/>
                    <a:pt x="1094974" y="61097"/>
                  </a:cubicBezTo>
                  <a:cubicBezTo>
                    <a:pt x="1162961" y="61097"/>
                    <a:pt x="1223476" y="36960"/>
                    <a:pt x="1260831" y="0"/>
                  </a:cubicBezTo>
                  <a:cubicBezTo>
                    <a:pt x="1298186" y="36960"/>
                    <a:pt x="1358702" y="61097"/>
                    <a:pt x="1426688" y="61097"/>
                  </a:cubicBezTo>
                  <a:cubicBezTo>
                    <a:pt x="1452090" y="61097"/>
                    <a:pt x="1476184" y="57703"/>
                    <a:pt x="1498410" y="51669"/>
                  </a:cubicBezTo>
                  <a:lnTo>
                    <a:pt x="1511300" y="46287"/>
                  </a:lnTo>
                  <a:lnTo>
                    <a:pt x="1511300" y="170030"/>
                  </a:lnTo>
                  <a:cubicBezTo>
                    <a:pt x="1511300" y="397370"/>
                    <a:pt x="1511300" y="700491"/>
                    <a:pt x="1511300" y="1104651"/>
                  </a:cubicBezTo>
                  <a:cubicBezTo>
                    <a:pt x="1511300" y="1199087"/>
                    <a:pt x="1172715" y="1275534"/>
                    <a:pt x="755650" y="1275534"/>
                  </a:cubicBezTo>
                  <a:cubicBezTo>
                    <a:pt x="337838" y="1275534"/>
                    <a:pt x="0" y="1199087"/>
                    <a:pt x="0" y="1104651"/>
                  </a:cubicBezTo>
                  <a:cubicBezTo>
                    <a:pt x="0" y="1104651"/>
                    <a:pt x="0" y="1104651"/>
                    <a:pt x="0" y="133571"/>
                  </a:cubicBezTo>
                  <a:lnTo>
                    <a:pt x="0" y="40893"/>
                  </a:lnTo>
                  <a:lnTo>
                    <a:pt x="28672" y="52517"/>
                  </a:lnTo>
                  <a:cubicBezTo>
                    <a:pt x="50151" y="58080"/>
                    <a:pt x="73311" y="61097"/>
                    <a:pt x="97592" y="61097"/>
                  </a:cubicBezTo>
                  <a:cubicBezTo>
                    <a:pt x="165578" y="61097"/>
                    <a:pt x="226094" y="36960"/>
                    <a:pt x="263449" y="0"/>
                  </a:cubicBezTo>
                  <a:close/>
                </a:path>
              </a:pathLst>
            </a:custGeom>
            <a:solidFill>
              <a:srgbClr val="00B0F0"/>
            </a:solidFill>
            <a:ln>
              <a:noFill/>
            </a:ln>
          </p:spPr>
          <p:txBody>
            <a:bodyPr vert="horz" wrap="square" lIns="91438" tIns="45719" rIns="91438" bIns="45719" numCol="1" anchor="t" anchorCtr="0" compatLnSpc="1">
              <a:prstTxWarp prst="textNoShape">
                <a:avLst/>
              </a:prstTxWarp>
              <a:noAutofit/>
            </a:bodyPr>
            <a:lstStyle/>
            <a:p>
              <a:pPr defTabSz="914355">
                <a:defRPr/>
              </a:pPr>
              <a:endParaRPr lang="es-MX" sz="1765" dirty="0">
                <a:solidFill>
                  <a:srgbClr val="FFFFFF"/>
                </a:solidFill>
                <a:latin typeface="Segoe UI"/>
              </a:endParaRPr>
            </a:p>
          </p:txBody>
        </p:sp>
      </p:grpSp>
      <p:sp>
        <p:nvSpPr>
          <p:cNvPr id="2" name="Title 1">
            <a:extLst>
              <a:ext uri="{FF2B5EF4-FFF2-40B4-BE49-F238E27FC236}">
                <a16:creationId xmlns:a16="http://schemas.microsoft.com/office/drawing/2014/main" id="{12E3B27B-3CF0-40BC-9E5B-7849AB29E539}"/>
              </a:ext>
            </a:extLst>
          </p:cNvPr>
          <p:cNvSpPr>
            <a:spLocks noGrp="1"/>
          </p:cNvSpPr>
          <p:nvPr>
            <p:ph type="title"/>
          </p:nvPr>
        </p:nvSpPr>
        <p:spPr>
          <a:xfrm>
            <a:off x="588348" y="457246"/>
            <a:ext cx="11018351" cy="553990"/>
          </a:xfrm>
        </p:spPr>
        <p:txBody>
          <a:bodyPr>
            <a:noAutofit/>
          </a:bodyPr>
          <a:lstStyle/>
          <a:p>
            <a:r>
              <a:rPr lang="en-US" sz="4200" dirty="0"/>
              <a:t>A brief history of business intelligence</a:t>
            </a:r>
          </a:p>
        </p:txBody>
      </p:sp>
      <p:sp>
        <p:nvSpPr>
          <p:cNvPr id="69" name="Rectangle 68">
            <a:extLst>
              <a:ext uri="{FF2B5EF4-FFF2-40B4-BE49-F238E27FC236}">
                <a16:creationId xmlns:a16="http://schemas.microsoft.com/office/drawing/2014/main" id="{0BBEEE17-3CBE-4F44-ADA9-F1BA3C1C4EB7}"/>
              </a:ext>
            </a:extLst>
          </p:cNvPr>
          <p:cNvSpPr/>
          <p:nvPr/>
        </p:nvSpPr>
        <p:spPr bwMode="auto">
          <a:xfrm>
            <a:off x="1482764" y="1606131"/>
            <a:ext cx="8346342" cy="3221469"/>
          </a:xfrm>
          <a:prstGeom prst="rect">
            <a:avLst/>
          </a:prstGeom>
          <a:noFill/>
          <a:ln w="5715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defTabSz="932461" fontAlgn="base">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3F991584-B4F7-4C08-A7E5-1ED57571FB1A}"/>
              </a:ext>
            </a:extLst>
          </p:cNvPr>
          <p:cNvSpPr txBox="1"/>
          <p:nvPr/>
        </p:nvSpPr>
        <p:spPr>
          <a:xfrm>
            <a:off x="6115303" y="1733393"/>
            <a:ext cx="2442913" cy="430887"/>
          </a:xfrm>
          <a:prstGeom prst="rect">
            <a:avLst/>
          </a:prstGeom>
          <a:noFill/>
        </p:spPr>
        <p:txBody>
          <a:bodyPr wrap="none" lIns="0" tIns="0" rIns="0" bIns="0" rtlCol="0">
            <a:spAutoFit/>
          </a:bodyPr>
          <a:lstStyle/>
          <a:p>
            <a:pPr defTabSz="914355">
              <a:defRPr/>
            </a:pPr>
            <a:r>
              <a:rPr lang="en-US" sz="2800" b="1" dirty="0">
                <a:solidFill>
                  <a:srgbClr val="FFC000"/>
                </a:solidFill>
                <a:latin typeface="Segoe UI"/>
              </a:rPr>
              <a:t>Self-Service BI</a:t>
            </a:r>
          </a:p>
        </p:txBody>
      </p:sp>
    </p:spTree>
    <p:extLst>
      <p:ext uri="{BB962C8B-B14F-4D97-AF65-F5344CB8AC3E}">
        <p14:creationId xmlns:p14="http://schemas.microsoft.com/office/powerpoint/2010/main" val="331462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F0D65CA-997B-46A4-85A7-26956CC114AF}"/>
              </a:ext>
            </a:extLst>
          </p:cNvPr>
          <p:cNvSpPr>
            <a:spLocks noGrp="1"/>
          </p:cNvSpPr>
          <p:nvPr>
            <p:ph type="title"/>
          </p:nvPr>
        </p:nvSpPr>
        <p:spPr/>
        <p:txBody>
          <a:bodyPr/>
          <a:lstStyle/>
          <a:p>
            <a:r>
              <a:rPr lang="en-US" sz="6600" dirty="0"/>
              <a:t>From Business Intelligence</a:t>
            </a:r>
            <a:br>
              <a:rPr lang="en-US" sz="6600" dirty="0"/>
            </a:br>
            <a:r>
              <a:rPr lang="en-US" sz="6600" dirty="0"/>
              <a:t>to Data Culture</a:t>
            </a:r>
          </a:p>
        </p:txBody>
      </p:sp>
    </p:spTree>
    <p:extLst>
      <p:ext uri="{BB962C8B-B14F-4D97-AF65-F5344CB8AC3E}">
        <p14:creationId xmlns:p14="http://schemas.microsoft.com/office/powerpoint/2010/main" val="2415103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C9D34C-2085-4B67-86C8-F50C0FFA225C}"/>
              </a:ext>
            </a:extLst>
          </p:cNvPr>
          <p:cNvPicPr>
            <a:picLocks noChangeAspect="1"/>
          </p:cNvPicPr>
          <p:nvPr/>
        </p:nvPicPr>
        <p:blipFill>
          <a:blip r:embed="rId3"/>
          <a:stretch>
            <a:fillRect/>
          </a:stretch>
        </p:blipFill>
        <p:spPr>
          <a:xfrm>
            <a:off x="152946" y="115400"/>
            <a:ext cx="11854181" cy="2578963"/>
          </a:xfrm>
          <a:prstGeom prst="rect">
            <a:avLst/>
          </a:prstGeom>
        </p:spPr>
      </p:pic>
      <p:pic>
        <p:nvPicPr>
          <p:cNvPr id="6" name="Picture 5">
            <a:extLst>
              <a:ext uri="{FF2B5EF4-FFF2-40B4-BE49-F238E27FC236}">
                <a16:creationId xmlns:a16="http://schemas.microsoft.com/office/drawing/2014/main" id="{C5A79F2A-DEC9-4246-BF8E-7708B9FB2F98}"/>
              </a:ext>
            </a:extLst>
          </p:cNvPr>
          <p:cNvPicPr>
            <a:picLocks noChangeAspect="1"/>
          </p:cNvPicPr>
          <p:nvPr/>
        </p:nvPicPr>
        <p:blipFill>
          <a:blip r:embed="rId4"/>
          <a:stretch>
            <a:fillRect/>
          </a:stretch>
        </p:blipFill>
        <p:spPr>
          <a:xfrm>
            <a:off x="3915186" y="2227557"/>
            <a:ext cx="8063151" cy="3431958"/>
          </a:xfrm>
          <a:prstGeom prst="rect">
            <a:avLst/>
          </a:prstGeom>
        </p:spPr>
      </p:pic>
      <p:sp>
        <p:nvSpPr>
          <p:cNvPr id="7" name="Plus Sign 6">
            <a:extLst>
              <a:ext uri="{FF2B5EF4-FFF2-40B4-BE49-F238E27FC236}">
                <a16:creationId xmlns:a16="http://schemas.microsoft.com/office/drawing/2014/main" id="{C589FF19-6D58-4A71-B82B-306485734D1B}"/>
              </a:ext>
            </a:extLst>
          </p:cNvPr>
          <p:cNvSpPr/>
          <p:nvPr/>
        </p:nvSpPr>
        <p:spPr>
          <a:xfrm>
            <a:off x="1469255" y="3249227"/>
            <a:ext cx="1398233" cy="137603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4538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C9D34C-2085-4B67-86C8-F50C0FFA225C}"/>
              </a:ext>
            </a:extLst>
          </p:cNvPr>
          <p:cNvPicPr>
            <a:picLocks noChangeAspect="1"/>
          </p:cNvPicPr>
          <p:nvPr/>
        </p:nvPicPr>
        <p:blipFill>
          <a:blip r:embed="rId3"/>
          <a:stretch>
            <a:fillRect/>
          </a:stretch>
        </p:blipFill>
        <p:spPr>
          <a:xfrm>
            <a:off x="152946" y="115400"/>
            <a:ext cx="11854181" cy="2578963"/>
          </a:xfrm>
          <a:prstGeom prst="rect">
            <a:avLst/>
          </a:prstGeom>
        </p:spPr>
      </p:pic>
      <p:pic>
        <p:nvPicPr>
          <p:cNvPr id="6" name="Picture 5">
            <a:extLst>
              <a:ext uri="{FF2B5EF4-FFF2-40B4-BE49-F238E27FC236}">
                <a16:creationId xmlns:a16="http://schemas.microsoft.com/office/drawing/2014/main" id="{C5A79F2A-DEC9-4246-BF8E-7708B9FB2F98}"/>
              </a:ext>
            </a:extLst>
          </p:cNvPr>
          <p:cNvPicPr>
            <a:picLocks noChangeAspect="1"/>
          </p:cNvPicPr>
          <p:nvPr/>
        </p:nvPicPr>
        <p:blipFill>
          <a:blip r:embed="rId4"/>
          <a:stretch>
            <a:fillRect/>
          </a:stretch>
        </p:blipFill>
        <p:spPr>
          <a:xfrm>
            <a:off x="3915186" y="2227557"/>
            <a:ext cx="8063151" cy="3431958"/>
          </a:xfrm>
          <a:prstGeom prst="rect">
            <a:avLst/>
          </a:prstGeom>
        </p:spPr>
      </p:pic>
      <p:sp>
        <p:nvSpPr>
          <p:cNvPr id="7" name="Plus Sign 6">
            <a:extLst>
              <a:ext uri="{FF2B5EF4-FFF2-40B4-BE49-F238E27FC236}">
                <a16:creationId xmlns:a16="http://schemas.microsoft.com/office/drawing/2014/main" id="{C589FF19-6D58-4A71-B82B-306485734D1B}"/>
              </a:ext>
            </a:extLst>
          </p:cNvPr>
          <p:cNvSpPr/>
          <p:nvPr/>
        </p:nvSpPr>
        <p:spPr>
          <a:xfrm>
            <a:off x="1469255" y="3249227"/>
            <a:ext cx="1398233" cy="137603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5">
            <p14:nvContentPartPr>
              <p14:cNvPr id="2" name="Ink 1">
                <a:extLst>
                  <a:ext uri="{FF2B5EF4-FFF2-40B4-BE49-F238E27FC236}">
                    <a16:creationId xmlns:a16="http://schemas.microsoft.com/office/drawing/2014/main" id="{A51F4B2E-65CC-4D7B-83FF-68B61B484DE6}"/>
                  </a:ext>
                </a:extLst>
              </p14:cNvPr>
              <p14:cNvContentPartPr/>
              <p14:nvPr/>
            </p14:nvContentPartPr>
            <p14:xfrm>
              <a:off x="10505160" y="3361520"/>
              <a:ext cx="698760" cy="11880"/>
            </p14:xfrm>
          </p:contentPart>
        </mc:Choice>
        <mc:Fallback xmlns="">
          <p:pic>
            <p:nvPicPr>
              <p:cNvPr id="2" name="Ink 1">
                <a:extLst>
                  <a:ext uri="{FF2B5EF4-FFF2-40B4-BE49-F238E27FC236}">
                    <a16:creationId xmlns:a16="http://schemas.microsoft.com/office/drawing/2014/main" id="{A51F4B2E-65CC-4D7B-83FF-68B61B484DE6}"/>
                  </a:ext>
                </a:extLst>
              </p:cNvPr>
              <p:cNvPicPr/>
              <p:nvPr/>
            </p:nvPicPr>
            <p:blipFill>
              <a:blip r:embed="rId6"/>
              <a:stretch>
                <a:fillRect/>
              </a:stretch>
            </p:blipFill>
            <p:spPr>
              <a:xfrm>
                <a:off x="10451160" y="3253520"/>
                <a:ext cx="806400" cy="2275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 name="Ink 2">
                <a:extLst>
                  <a:ext uri="{FF2B5EF4-FFF2-40B4-BE49-F238E27FC236}">
                    <a16:creationId xmlns:a16="http://schemas.microsoft.com/office/drawing/2014/main" id="{41C3E0E1-1F92-4FB3-8FF1-B20C3A96D055}"/>
                  </a:ext>
                </a:extLst>
              </p14:cNvPr>
              <p14:cNvContentPartPr/>
              <p14:nvPr/>
            </p14:nvContentPartPr>
            <p14:xfrm>
              <a:off x="4297320" y="3716840"/>
              <a:ext cx="968760" cy="21600"/>
            </p14:xfrm>
          </p:contentPart>
        </mc:Choice>
        <mc:Fallback xmlns="">
          <p:pic>
            <p:nvPicPr>
              <p:cNvPr id="3" name="Ink 2">
                <a:extLst>
                  <a:ext uri="{FF2B5EF4-FFF2-40B4-BE49-F238E27FC236}">
                    <a16:creationId xmlns:a16="http://schemas.microsoft.com/office/drawing/2014/main" id="{41C3E0E1-1F92-4FB3-8FF1-B20C3A96D055}"/>
                  </a:ext>
                </a:extLst>
              </p:cNvPr>
              <p:cNvPicPr/>
              <p:nvPr/>
            </p:nvPicPr>
            <p:blipFill>
              <a:blip r:embed="rId8"/>
              <a:stretch>
                <a:fillRect/>
              </a:stretch>
            </p:blipFill>
            <p:spPr>
              <a:xfrm>
                <a:off x="4243320" y="3608840"/>
                <a:ext cx="1076400" cy="2372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2F3394E7-2C75-41A5-9505-ACC931875E7D}"/>
                  </a:ext>
                </a:extLst>
              </p14:cNvPr>
              <p14:cNvContentPartPr/>
              <p14:nvPr/>
            </p14:nvContentPartPr>
            <p14:xfrm>
              <a:off x="6309000" y="4428560"/>
              <a:ext cx="4584240" cy="52920"/>
            </p14:xfrm>
          </p:contentPart>
        </mc:Choice>
        <mc:Fallback xmlns="">
          <p:pic>
            <p:nvPicPr>
              <p:cNvPr id="5" name="Ink 4">
                <a:extLst>
                  <a:ext uri="{FF2B5EF4-FFF2-40B4-BE49-F238E27FC236}">
                    <a16:creationId xmlns:a16="http://schemas.microsoft.com/office/drawing/2014/main" id="{2F3394E7-2C75-41A5-9505-ACC931875E7D}"/>
                  </a:ext>
                </a:extLst>
              </p:cNvPr>
              <p:cNvPicPr/>
              <p:nvPr/>
            </p:nvPicPr>
            <p:blipFill>
              <a:blip r:embed="rId10"/>
              <a:stretch>
                <a:fillRect/>
              </a:stretch>
            </p:blipFill>
            <p:spPr>
              <a:xfrm>
                <a:off x="6255000" y="4320560"/>
                <a:ext cx="4691880" cy="2685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8" name="Ink 7">
                <a:extLst>
                  <a:ext uri="{FF2B5EF4-FFF2-40B4-BE49-F238E27FC236}">
                    <a16:creationId xmlns:a16="http://schemas.microsoft.com/office/drawing/2014/main" id="{AA8FC823-C857-4ADE-931E-407395891F54}"/>
                  </a:ext>
                </a:extLst>
              </p14:cNvPr>
              <p14:cNvContentPartPr/>
              <p14:nvPr/>
            </p14:nvContentPartPr>
            <p14:xfrm>
              <a:off x="4297320" y="4723400"/>
              <a:ext cx="1384200" cy="41400"/>
            </p14:xfrm>
          </p:contentPart>
        </mc:Choice>
        <mc:Fallback xmlns="">
          <p:pic>
            <p:nvPicPr>
              <p:cNvPr id="8" name="Ink 7">
                <a:extLst>
                  <a:ext uri="{FF2B5EF4-FFF2-40B4-BE49-F238E27FC236}">
                    <a16:creationId xmlns:a16="http://schemas.microsoft.com/office/drawing/2014/main" id="{AA8FC823-C857-4ADE-931E-407395891F54}"/>
                  </a:ext>
                </a:extLst>
              </p:cNvPr>
              <p:cNvPicPr/>
              <p:nvPr/>
            </p:nvPicPr>
            <p:blipFill>
              <a:blip r:embed="rId12"/>
              <a:stretch>
                <a:fillRect/>
              </a:stretch>
            </p:blipFill>
            <p:spPr>
              <a:xfrm>
                <a:off x="4243320" y="4615400"/>
                <a:ext cx="1491840" cy="257040"/>
              </a:xfrm>
              <a:prstGeom prst="rect">
                <a:avLst/>
              </a:prstGeom>
            </p:spPr>
          </p:pic>
        </mc:Fallback>
      </mc:AlternateContent>
    </p:spTree>
    <p:extLst>
      <p:ext uri="{BB962C8B-B14F-4D97-AF65-F5344CB8AC3E}">
        <p14:creationId xmlns:p14="http://schemas.microsoft.com/office/powerpoint/2010/main" val="1494201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A7574-3F1A-465B-9594-E9E04683227B}"/>
              </a:ext>
            </a:extLst>
          </p:cNvPr>
          <p:cNvSpPr>
            <a:spLocks noGrp="1"/>
          </p:cNvSpPr>
          <p:nvPr>
            <p:ph type="title"/>
          </p:nvPr>
        </p:nvSpPr>
        <p:spPr/>
        <p:txBody>
          <a:bodyPr>
            <a:normAutofit/>
          </a:bodyPr>
          <a:lstStyle/>
          <a:p>
            <a:r>
              <a:rPr lang="en-US" dirty="0"/>
              <a:t>Imagine a world where…</a:t>
            </a:r>
          </a:p>
        </p:txBody>
      </p:sp>
      <p:sp>
        <p:nvSpPr>
          <p:cNvPr id="6" name="Content Placeholder 5">
            <a:extLst>
              <a:ext uri="{FF2B5EF4-FFF2-40B4-BE49-F238E27FC236}">
                <a16:creationId xmlns:a16="http://schemas.microsoft.com/office/drawing/2014/main" id="{F5E99236-6AE6-43CF-924D-B7B8249B37B3}"/>
              </a:ext>
            </a:extLst>
          </p:cNvPr>
          <p:cNvSpPr>
            <a:spLocks noGrp="1"/>
          </p:cNvSpPr>
          <p:nvPr>
            <p:ph sz="half" idx="1"/>
          </p:nvPr>
        </p:nvSpPr>
        <p:spPr/>
        <p:txBody>
          <a:bodyPr/>
          <a:lstStyle/>
          <a:p>
            <a:r>
              <a:rPr lang="en-US" dirty="0"/>
              <a:t>Making decisions based on common trusted data is the norm</a:t>
            </a:r>
          </a:p>
          <a:p>
            <a:r>
              <a:rPr lang="en-US" dirty="0"/>
              <a:t>Business users have access to the tools, reports, and data they need</a:t>
            </a:r>
          </a:p>
          <a:p>
            <a:r>
              <a:rPr lang="en-US" dirty="0"/>
              <a:t>Business users are part of a supported and valued community of practice where guidance and assistance are readily available</a:t>
            </a:r>
          </a:p>
          <a:p>
            <a:r>
              <a:rPr lang="en-US" dirty="0"/>
              <a:t>Business users are recognized and rewarded for their contributions</a:t>
            </a:r>
          </a:p>
        </p:txBody>
      </p:sp>
      <p:sp>
        <p:nvSpPr>
          <p:cNvPr id="8" name="Content Placeholder 7">
            <a:extLst>
              <a:ext uri="{FF2B5EF4-FFF2-40B4-BE49-F238E27FC236}">
                <a16:creationId xmlns:a16="http://schemas.microsoft.com/office/drawing/2014/main" id="{E09E942F-3A3B-4E9A-8644-56D942CF52F0}"/>
              </a:ext>
            </a:extLst>
          </p:cNvPr>
          <p:cNvSpPr>
            <a:spLocks noGrp="1"/>
          </p:cNvSpPr>
          <p:nvPr>
            <p:ph sz="half" idx="2"/>
          </p:nvPr>
        </p:nvSpPr>
        <p:spPr/>
        <p:txBody>
          <a:bodyPr/>
          <a:lstStyle/>
          <a:p>
            <a:r>
              <a:rPr lang="en-US" dirty="0"/>
              <a:t>IT focuses on architecture, scale, and complex strategic investments</a:t>
            </a:r>
          </a:p>
          <a:p>
            <a:r>
              <a:rPr lang="en-US" dirty="0"/>
              <a:t>Data governance is applied in ways that enable business users to work efficiently within the system, not outside it</a:t>
            </a:r>
          </a:p>
          <a:p>
            <a:r>
              <a:rPr lang="en-US" dirty="0"/>
              <a:t>IT and business work in true partnership to achieve shared organizational goals</a:t>
            </a:r>
          </a:p>
          <a:p>
            <a:endParaRPr lang="en-US" dirty="0"/>
          </a:p>
        </p:txBody>
      </p:sp>
    </p:spTree>
    <p:extLst>
      <p:ext uri="{BB962C8B-B14F-4D97-AF65-F5344CB8AC3E}">
        <p14:creationId xmlns:p14="http://schemas.microsoft.com/office/powerpoint/2010/main" val="524493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Power BIUG">
      <a:dk1>
        <a:srgbClr val="000000"/>
      </a:dk1>
      <a:lt1>
        <a:sysClr val="window" lastClr="FFFFFF"/>
      </a:lt1>
      <a:dk2>
        <a:srgbClr val="000000"/>
      </a:dk2>
      <a:lt2>
        <a:srgbClr val="E7E6E6"/>
      </a:lt2>
      <a:accent1>
        <a:srgbClr val="F2C818"/>
      </a:accent1>
      <a:accent2>
        <a:srgbClr val="000000"/>
      </a:accent2>
      <a:accent3>
        <a:srgbClr val="D8D8D8"/>
      </a:accent3>
      <a:accent4>
        <a:srgbClr val="7F7F7F"/>
      </a:accent4>
      <a:accent5>
        <a:srgbClr val="262626"/>
      </a:accent5>
      <a:accent6>
        <a:srgbClr val="F2C818"/>
      </a:accent6>
      <a:hlink>
        <a:srgbClr val="F2C818"/>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e2e36bf2-676d-47bf-8c06-30219e3f945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023BFBA2E64C44583C1F36DAEDA4E27" ma:contentTypeVersion="17" ma:contentTypeDescription="Create a new document." ma:contentTypeScope="" ma:versionID="ede89f95db7eaa17a77b2a6bbad8fa2a">
  <xsd:schema xmlns:xsd="http://www.w3.org/2001/XMLSchema" xmlns:xs="http://www.w3.org/2001/XMLSchema" xmlns:p="http://schemas.microsoft.com/office/2006/metadata/properties" xmlns:ns1="http://schemas.microsoft.com/sharepoint/v3" xmlns:ns3="5b6bb9ae-38ad-4b76-b66d-ce3fddf044f8" xmlns:ns4="e2e36bf2-676d-47bf-8c06-30219e3f9450" targetNamespace="http://schemas.microsoft.com/office/2006/metadata/properties" ma:root="true" ma:fieldsID="88853a5a54bae89754c9d338aa282927" ns1:_="" ns3:_="" ns4:_="">
    <xsd:import namespace="http://schemas.microsoft.com/sharepoint/v3"/>
    <xsd:import namespace="5b6bb9ae-38ad-4b76-b66d-ce3fddf044f8"/>
    <xsd:import namespace="e2e36bf2-676d-47bf-8c06-30219e3f9450"/>
    <xsd:element name="properties">
      <xsd:complexType>
        <xsd:sequence>
          <xsd:element name="documentManagement">
            <xsd:complexType>
              <xsd:all>
                <xsd:element ref="ns3:SharedWithUsers" minOccurs="0"/>
                <xsd:element ref="ns3:SharingHintHash" minOccurs="0"/>
                <xsd:element ref="ns3:SharedWithDetails" minOccurs="0"/>
                <xsd:element ref="ns3:LastSharedByUser" minOccurs="0"/>
                <xsd:element ref="ns3:LastSharedByTime" minOccurs="0"/>
                <xsd:element ref="ns4:MediaServiceMetadata" minOccurs="0"/>
                <xsd:element ref="ns4:MediaServiceFastMetadata" minOccurs="0"/>
                <xsd:element ref="ns4:MediaServiceEventHashCode" minOccurs="0"/>
                <xsd:element ref="ns4:MediaServiceGenerationTime" minOccurs="0"/>
                <xsd:element ref="ns4:MediaServiceAutoTags" minOccurs="0"/>
                <xsd:element ref="ns4:MediaServiceOCR" minOccurs="0"/>
                <xsd:element ref="ns4:MediaServiceDateTaken" minOccurs="0"/>
                <xsd:element ref="ns4:MediaServiceLocation" minOccurs="0"/>
                <xsd:element ref="ns1:_ip_UnifiedCompliancePolicyProperties" minOccurs="0"/>
                <xsd:element ref="ns1:_ip_UnifiedCompliancePolicyUIAc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6bb9ae-38ad-4b76-b66d-ce3fddf044f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2e36bf2-676d-47bf-8c06-30219e3f9450"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130215-149B-4B56-AAE8-EF1980B20BB0}">
  <ds:schemaRefs>
    <ds:schemaRef ds:uri="http://purl.org/dc/elements/1.1/"/>
    <ds:schemaRef ds:uri="http://www.w3.org/XML/1998/namespace"/>
    <ds:schemaRef ds:uri="http://purl.org/dc/dcmitype/"/>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e2e36bf2-676d-47bf-8c06-30219e3f9450"/>
    <ds:schemaRef ds:uri="5b6bb9ae-38ad-4b76-b66d-ce3fddf044f8"/>
  </ds:schemaRefs>
</ds:datastoreItem>
</file>

<file path=customXml/itemProps2.xml><?xml version="1.0" encoding="utf-8"?>
<ds:datastoreItem xmlns:ds="http://schemas.openxmlformats.org/officeDocument/2006/customXml" ds:itemID="{55D8D74A-93CE-4978-8C1D-A41EE94072BD}">
  <ds:schemaRefs>
    <ds:schemaRef ds:uri="http://schemas.microsoft.com/sharepoint/v3/contenttype/forms"/>
  </ds:schemaRefs>
</ds:datastoreItem>
</file>

<file path=customXml/itemProps3.xml><?xml version="1.0" encoding="utf-8"?>
<ds:datastoreItem xmlns:ds="http://schemas.openxmlformats.org/officeDocument/2006/customXml" ds:itemID="{2D18DA6F-160A-4ADD-BB9B-AC139ACF7C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b6bb9ae-38ad-4b76-b66d-ce3fddf044f8"/>
    <ds:schemaRef ds:uri="e2e36bf2-676d-47bf-8c06-30219e3f94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4399</TotalTime>
  <Words>1520</Words>
  <Application>Microsoft Office PowerPoint</Application>
  <PresentationFormat>Widescreen</PresentationFormat>
  <Paragraphs>264</Paragraphs>
  <Slides>33</Slides>
  <Notes>11</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2" baseType="lpstr">
      <vt:lpstr>Arial</vt:lpstr>
      <vt:lpstr>Calibri</vt:lpstr>
      <vt:lpstr>Lato</vt:lpstr>
      <vt:lpstr>Merriweather</vt:lpstr>
      <vt:lpstr>Segoe UI</vt:lpstr>
      <vt:lpstr>Segoe UI Light</vt:lpstr>
      <vt:lpstr>Segoe UI Semibold</vt:lpstr>
      <vt:lpstr>Office Theme</vt:lpstr>
      <vt:lpstr>think-cell Slide</vt:lpstr>
      <vt:lpstr>Building a Data Culture with Power BI  Des Moines Power BI User Group December 8, 2021</vt:lpstr>
      <vt:lpstr>Matthew Roche</vt:lpstr>
      <vt:lpstr>A brief history of business intelligence</vt:lpstr>
      <vt:lpstr>A brief history of business intelligence</vt:lpstr>
      <vt:lpstr>A brief history of business intelligence</vt:lpstr>
      <vt:lpstr>From Business Intelligence to Data Culture</vt:lpstr>
      <vt:lpstr>PowerPoint Presentation</vt:lpstr>
      <vt:lpstr>PowerPoint Presentation</vt:lpstr>
      <vt:lpstr>Imagine a world where…</vt:lpstr>
      <vt:lpstr>Top Tip: Executive sponsorship</vt:lpstr>
      <vt:lpstr>Without an executive sponsor, you will fail</vt:lpstr>
      <vt:lpstr>Without an executive sponsor, you will fail</vt:lpstr>
      <vt:lpstr>Executive sponsorship</vt:lpstr>
      <vt:lpstr>Building a data culture: The easy part</vt:lpstr>
      <vt:lpstr>PowerPoint Presentation</vt:lpstr>
      <vt:lpstr>PowerPoint Presentation</vt:lpstr>
      <vt:lpstr>PowerPoint Presentation</vt:lpstr>
      <vt:lpstr>PowerPoint Presentation</vt:lpstr>
      <vt:lpstr>PowerPoint Presentation</vt:lpstr>
      <vt:lpstr>Building a data culture: The hard part</vt:lpstr>
      <vt:lpstr>PowerPoint Presentation</vt:lpstr>
      <vt:lpstr>Is this starting to feel ‘above my pay grade’?</vt:lpstr>
      <vt:lpstr>PowerPoint Presentation</vt:lpstr>
      <vt:lpstr>Wrapping up</vt:lpstr>
      <vt:lpstr>PowerPoint Presentation</vt:lpstr>
      <vt:lpstr>PowerPoint Presentation</vt:lpstr>
      <vt:lpstr>There is no single path to success </vt:lpstr>
      <vt:lpstr>Summary and resources</vt:lpstr>
      <vt:lpstr>Related content</vt:lpstr>
      <vt:lpstr>Power BI Adoption Roadmap</vt:lpstr>
      <vt:lpstr>Q&amp;A</vt:lpstr>
      <vt:lpstr>Building a Data Culture with Power B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BI CAT</dc:title>
  <dc:creator>Matthew Roche</dc:creator>
  <cp:lastModifiedBy>Matthew Roche</cp:lastModifiedBy>
  <cp:revision>9</cp:revision>
  <dcterms:created xsi:type="dcterms:W3CDTF">2018-06-07T15:04:06Z</dcterms:created>
  <dcterms:modified xsi:type="dcterms:W3CDTF">2021-12-08T23:3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23BFBA2E64C44583C1F36DAEDA4E27</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maroche@microsoft.com</vt:lpwstr>
  </property>
  <property fmtid="{D5CDD505-2E9C-101B-9397-08002B2CF9AE}" pid="6" name="MSIP_Label_f42aa342-8706-4288-bd11-ebb85995028c_SetDate">
    <vt:lpwstr>2019-08-27T22:31:22.635070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ActionId">
    <vt:lpwstr>a4ad02bd-9577-4be0-8c23-be45abf9d1a5</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